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30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82" r:id="rId22"/>
    <p:sldId id="276" r:id="rId23"/>
    <p:sldId id="283" r:id="rId24"/>
    <p:sldId id="277" r:id="rId25"/>
    <p:sldId id="278" r:id="rId26"/>
    <p:sldId id="279" r:id="rId27"/>
    <p:sldId id="280" r:id="rId28"/>
    <p:sldId id="284" r:id="rId29"/>
  </p:sldIdLst>
  <p:sldSz cx="18288000" cy="10287000"/>
  <p:notesSz cx="6858000" cy="9144000"/>
  <p:embeddedFontLst>
    <p:embeddedFont>
      <p:font typeface="Montserrat ExtraBold" panose="020B0604020202020204" charset="-52"/>
      <p:bold r:id="rId31"/>
      <p:boldItalic r:id="rId32"/>
    </p:embeddedFont>
    <p:embeddedFont>
      <p:font typeface="Montserrat Semi-Bold Bold" panose="020B0604020202020204" charset="-52"/>
      <p:regular r:id="rId33"/>
    </p:embeddedFont>
    <p:embeddedFont>
      <p:font typeface="Montserrat Extra-Bold" panose="020B0604020202020204" charset="-52"/>
      <p:regular r:id="rId34"/>
    </p:embeddedFont>
    <p:embeddedFont>
      <p:font typeface="Montserrat Black" panose="020B0604020202020204" charset="-52"/>
      <p:bold r:id="rId35"/>
      <p:boldItalic r:id="rId36"/>
    </p:embeddedFont>
    <p:embeddedFont>
      <p:font typeface="Calibri" panose="020F0502020204030204" pitchFamily="34" charset="0"/>
      <p:regular r:id="rId37"/>
      <p:bold r:id="rId38"/>
      <p:italic r:id="rId39"/>
      <p:boldItalic r:id="rId4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538A"/>
    <a:srgbClr val="0FB293"/>
    <a:srgbClr val="687FB2"/>
    <a:srgbClr val="A54686"/>
    <a:srgbClr val="FFF4D1"/>
    <a:srgbClr val="FFE89E"/>
    <a:srgbClr val="FFFFFF"/>
    <a:srgbClr val="FFFF99"/>
    <a:srgbClr val="D59492"/>
    <a:srgbClr val="C53F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22" autoAdjust="0"/>
  </p:normalViewPr>
  <p:slideViewPr>
    <p:cSldViewPr>
      <p:cViewPr varScale="1">
        <p:scale>
          <a:sx n="70" d="100"/>
          <a:sy n="70" d="100"/>
        </p:scale>
        <p:origin x="162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9.fntdata"/><Relationship Id="rId21" Type="http://schemas.openxmlformats.org/officeDocument/2006/relationships/slide" Target="slides/slide20.xml"/><Relationship Id="rId34" Type="http://schemas.openxmlformats.org/officeDocument/2006/relationships/font" Target="fonts/font4.fntdata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font" Target="fonts/font10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6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1.fntdata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5.fntdata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3.fntdata"/><Relationship Id="rId38" Type="http://schemas.openxmlformats.org/officeDocument/2006/relationships/font" Target="fonts/font8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Лист1!$A$2:$A$8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35</c:v>
                </c:pt>
                <c:pt idx="1">
                  <c:v>36</c:v>
                </c:pt>
                <c:pt idx="2">
                  <c:v>27</c:v>
                </c:pt>
                <c:pt idx="3">
                  <c:v>25</c:v>
                </c:pt>
                <c:pt idx="4">
                  <c:v>34</c:v>
                </c:pt>
                <c:pt idx="5">
                  <c:v>37</c:v>
                </c:pt>
                <c:pt idx="6">
                  <c:v>3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2221520"/>
        <c:axId val="442220976"/>
      </c:lineChart>
      <c:catAx>
        <c:axId val="44222152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42220976"/>
        <c:crosses val="autoZero"/>
        <c:auto val="1"/>
        <c:lblAlgn val="ctr"/>
        <c:lblOffset val="100"/>
        <c:noMultiLvlLbl val="0"/>
      </c:catAx>
      <c:valAx>
        <c:axId val="4422209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42221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25B177-205B-4F6F-8D2B-45BAD0F0EC1B}" type="datetimeFigureOut">
              <a:rPr lang="ru-RU" smtClean="0"/>
              <a:t>12.01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326892-0FB7-4C9C-BA73-194E47611D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03888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2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2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6.png"/><Relationship Id="rId7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png"/><Relationship Id="rId5" Type="http://schemas.openxmlformats.org/officeDocument/2006/relationships/image" Target="../media/image20.sv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10.sv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chart" Target="../charts/chart1.xml"/><Relationship Id="rId4" Type="http://schemas.openxmlformats.org/officeDocument/2006/relationships/tags" Target="../tags/tag13.xml"/><Relationship Id="rId9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6.png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8430768" cy="10287000"/>
          </a:xfrm>
          <a:prstGeom prst="rect">
            <a:avLst/>
          </a:prstGeom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 l="570" r="11767" b="5391"/>
          <a:stretch>
            <a:fillRect/>
          </a:stretch>
        </p:blipFill>
        <p:spPr>
          <a:xfrm>
            <a:off x="9412829" y="4252502"/>
            <a:ext cx="8069663" cy="3318553"/>
          </a:xfrm>
          <a:prstGeom prst="rect">
            <a:avLst/>
          </a:prstGeom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8747661" y="8090624"/>
            <a:ext cx="6406455" cy="1800085"/>
          </a:xfrm>
          <a:prstGeom prst="rect">
            <a:avLst/>
          </a:prstGeom>
        </p:spPr>
      </p:pic>
      <p:pic>
        <p:nvPicPr>
          <p:cNvPr id="5" name="Picture 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-595117" y="7905568"/>
            <a:ext cx="4999068" cy="2139136"/>
          </a:xfrm>
          <a:prstGeom prst="rect">
            <a:avLst/>
          </a:prstGeom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2375972" y="8990666"/>
            <a:ext cx="467295" cy="94919"/>
          </a:xfrm>
          <a:prstGeom prst="rect">
            <a:avLst/>
          </a:prstGeom>
        </p:spPr>
      </p:pic>
      <p:pic>
        <p:nvPicPr>
          <p:cNvPr id="7" name="Picture 7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11252311" y="1724463"/>
            <a:ext cx="4390698" cy="2325241"/>
          </a:xfrm>
          <a:prstGeom prst="rect">
            <a:avLst/>
          </a:prstGeom>
        </p:spPr>
      </p:pic>
      <p:grpSp>
        <p:nvGrpSpPr>
          <p:cNvPr id="8" name="Group 8"/>
          <p:cNvGrpSpPr>
            <a:grpSpLocks noChangeAspect="1"/>
          </p:cNvGrpSpPr>
          <p:nvPr/>
        </p:nvGrpSpPr>
        <p:grpSpPr>
          <a:xfrm>
            <a:off x="-3712275" y="-4298669"/>
            <a:ext cx="6088247" cy="6088247"/>
            <a:chOff x="0" y="0"/>
            <a:chExt cx="6355080" cy="635508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10" name="Group 10"/>
          <p:cNvGrpSpPr>
            <a:grpSpLocks noChangeAspect="1"/>
          </p:cNvGrpSpPr>
          <p:nvPr/>
        </p:nvGrpSpPr>
        <p:grpSpPr>
          <a:xfrm>
            <a:off x="16224843" y="8323163"/>
            <a:ext cx="3927674" cy="3927674"/>
            <a:chOff x="0" y="0"/>
            <a:chExt cx="6355080" cy="6355080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12" name="Group 12"/>
          <p:cNvGrpSpPr/>
          <p:nvPr/>
        </p:nvGrpSpPr>
        <p:grpSpPr>
          <a:xfrm>
            <a:off x="17784971" y="-97804"/>
            <a:ext cx="112347" cy="112347"/>
            <a:chOff x="0" y="0"/>
            <a:chExt cx="6350000" cy="6350000"/>
          </a:xfrm>
        </p:grpSpPr>
        <p:sp>
          <p:nvSpPr>
            <p:cNvPr id="13" name="Freeform 13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14" name="Group 14"/>
          <p:cNvGrpSpPr/>
          <p:nvPr/>
        </p:nvGrpSpPr>
        <p:grpSpPr>
          <a:xfrm>
            <a:off x="17784971" y="129902"/>
            <a:ext cx="112347" cy="112347"/>
            <a:chOff x="0" y="0"/>
            <a:chExt cx="6350000" cy="6350000"/>
          </a:xfrm>
        </p:grpSpPr>
        <p:sp>
          <p:nvSpPr>
            <p:cNvPr id="15" name="Freeform 15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16" name="Group 16"/>
          <p:cNvGrpSpPr/>
          <p:nvPr/>
        </p:nvGrpSpPr>
        <p:grpSpPr>
          <a:xfrm>
            <a:off x="17784971" y="347616"/>
            <a:ext cx="112347" cy="112347"/>
            <a:chOff x="0" y="0"/>
            <a:chExt cx="6350000" cy="6350000"/>
          </a:xfrm>
        </p:grpSpPr>
        <p:sp>
          <p:nvSpPr>
            <p:cNvPr id="17" name="Freeform 17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18" name="Group 18"/>
          <p:cNvGrpSpPr/>
          <p:nvPr/>
        </p:nvGrpSpPr>
        <p:grpSpPr>
          <a:xfrm>
            <a:off x="17983300" y="-97804"/>
            <a:ext cx="112347" cy="112347"/>
            <a:chOff x="0" y="0"/>
            <a:chExt cx="6350000" cy="6350000"/>
          </a:xfrm>
        </p:grpSpPr>
        <p:sp>
          <p:nvSpPr>
            <p:cNvPr id="19" name="Freeform 19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20" name="Group 20"/>
          <p:cNvGrpSpPr/>
          <p:nvPr/>
        </p:nvGrpSpPr>
        <p:grpSpPr>
          <a:xfrm>
            <a:off x="17983300" y="129902"/>
            <a:ext cx="112347" cy="112347"/>
            <a:chOff x="0" y="0"/>
            <a:chExt cx="6350000" cy="6350000"/>
          </a:xfrm>
        </p:grpSpPr>
        <p:sp>
          <p:nvSpPr>
            <p:cNvPr id="21" name="Freeform 21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22" name="Group 22"/>
          <p:cNvGrpSpPr/>
          <p:nvPr/>
        </p:nvGrpSpPr>
        <p:grpSpPr>
          <a:xfrm>
            <a:off x="17983300" y="347616"/>
            <a:ext cx="112347" cy="112347"/>
            <a:chOff x="0" y="0"/>
            <a:chExt cx="6350000" cy="6350000"/>
          </a:xfrm>
        </p:grpSpPr>
        <p:sp>
          <p:nvSpPr>
            <p:cNvPr id="23" name="Freeform 23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24" name="Group 24"/>
          <p:cNvGrpSpPr/>
          <p:nvPr/>
        </p:nvGrpSpPr>
        <p:grpSpPr>
          <a:xfrm>
            <a:off x="17591629" y="-97804"/>
            <a:ext cx="112347" cy="112347"/>
            <a:chOff x="0" y="0"/>
            <a:chExt cx="6350000" cy="6350000"/>
          </a:xfrm>
        </p:grpSpPr>
        <p:sp>
          <p:nvSpPr>
            <p:cNvPr id="25" name="Freeform 25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26" name="Group 26"/>
          <p:cNvGrpSpPr/>
          <p:nvPr/>
        </p:nvGrpSpPr>
        <p:grpSpPr>
          <a:xfrm>
            <a:off x="17591629" y="129902"/>
            <a:ext cx="112347" cy="112347"/>
            <a:chOff x="0" y="0"/>
            <a:chExt cx="6350000" cy="6350000"/>
          </a:xfrm>
        </p:grpSpPr>
        <p:sp>
          <p:nvSpPr>
            <p:cNvPr id="27" name="Freeform 27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28" name="Group 28"/>
          <p:cNvGrpSpPr/>
          <p:nvPr/>
        </p:nvGrpSpPr>
        <p:grpSpPr>
          <a:xfrm>
            <a:off x="17591629" y="347616"/>
            <a:ext cx="112347" cy="112347"/>
            <a:chOff x="0" y="0"/>
            <a:chExt cx="6350000" cy="6350000"/>
          </a:xfrm>
        </p:grpSpPr>
        <p:sp>
          <p:nvSpPr>
            <p:cNvPr id="29" name="Freeform 29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sp>
        <p:nvSpPr>
          <p:cNvPr id="30" name="TextBox 30"/>
          <p:cNvSpPr txBox="1"/>
          <p:nvPr/>
        </p:nvSpPr>
        <p:spPr>
          <a:xfrm>
            <a:off x="10059854" y="235991"/>
            <a:ext cx="6775614" cy="11981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197"/>
              </a:lnSpc>
              <a:spcBef>
                <a:spcPct val="0"/>
              </a:spcBef>
            </a:pPr>
            <a:r>
              <a:rPr lang="en-US" sz="2283" dirty="0">
                <a:solidFill>
                  <a:srgbClr val="000000"/>
                </a:solidFill>
                <a:latin typeface="Montserrat Extra-Bold"/>
              </a:rPr>
              <a:t>Администрация города Невинномысска</a:t>
            </a:r>
          </a:p>
          <a:p>
            <a:pPr algn="ctr">
              <a:lnSpc>
                <a:spcPts val="3197"/>
              </a:lnSpc>
              <a:spcBef>
                <a:spcPct val="0"/>
              </a:spcBef>
            </a:pPr>
            <a:r>
              <a:rPr lang="en-US" sz="2283" dirty="0">
                <a:solidFill>
                  <a:srgbClr val="000000"/>
                </a:solidFill>
                <a:latin typeface="Montserrat Extra-Bold"/>
              </a:rPr>
              <a:t>Финансовое управление администрации </a:t>
            </a:r>
          </a:p>
          <a:p>
            <a:pPr algn="ctr">
              <a:lnSpc>
                <a:spcPts val="3197"/>
              </a:lnSpc>
              <a:spcBef>
                <a:spcPct val="0"/>
              </a:spcBef>
            </a:pPr>
            <a:r>
              <a:rPr lang="en-US" sz="2283" dirty="0">
                <a:solidFill>
                  <a:srgbClr val="000000"/>
                </a:solidFill>
                <a:latin typeface="Montserrat Extra-Bold"/>
              </a:rPr>
              <a:t>города Невинномысска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2057400" y="8404386"/>
            <a:ext cx="980813" cy="4758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25"/>
              </a:lnSpc>
              <a:spcBef>
                <a:spcPct val="0"/>
              </a:spcBef>
            </a:pPr>
            <a:r>
              <a:rPr lang="en-US" sz="2875" dirty="0">
                <a:solidFill>
                  <a:srgbClr val="FFFFFF"/>
                </a:solidFill>
                <a:latin typeface="Montserrat Extra-Bold"/>
              </a:rPr>
              <a:t>2022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2057400" y="9091858"/>
            <a:ext cx="1017677" cy="4758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025"/>
              </a:lnSpc>
              <a:spcBef>
                <a:spcPct val="0"/>
              </a:spcBef>
            </a:pPr>
            <a:r>
              <a:rPr lang="en-US" sz="2875" dirty="0">
                <a:solidFill>
                  <a:srgbClr val="FFFFFF"/>
                </a:solidFill>
                <a:latin typeface="Montserrat Extra-Bold"/>
              </a:rPr>
              <a:t>202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5942806" y="61269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3" name="TextBox 3"/>
          <p:cNvSpPr txBox="1"/>
          <p:nvPr/>
        </p:nvSpPr>
        <p:spPr>
          <a:xfrm>
            <a:off x="440496" y="5036867"/>
            <a:ext cx="7198463" cy="103759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197"/>
              </a:lnSpc>
            </a:pPr>
            <a:r>
              <a:rPr lang="en-US" sz="2998" dirty="0">
                <a:solidFill>
                  <a:srgbClr val="13538A"/>
                </a:solidFill>
                <a:latin typeface="Montserrat Extra-Bold"/>
              </a:rPr>
              <a:t>"БЕЗОПАСНЫЕ И КАЧЕСТВЕННЫЕ</a:t>
            </a:r>
          </a:p>
          <a:p>
            <a:pPr algn="ctr">
              <a:lnSpc>
                <a:spcPts val="4197"/>
              </a:lnSpc>
              <a:spcBef>
                <a:spcPct val="0"/>
              </a:spcBef>
            </a:pPr>
            <a:r>
              <a:rPr lang="en-US" sz="2998" dirty="0">
                <a:solidFill>
                  <a:srgbClr val="13538A"/>
                </a:solidFill>
                <a:latin typeface="Montserrat Extra-Bold"/>
              </a:rPr>
              <a:t>АВТОМОБИЛЬНЫЕ ДОРОГИ"</a:t>
            </a:r>
          </a:p>
        </p:txBody>
      </p:sp>
      <p:sp>
        <p:nvSpPr>
          <p:cNvPr id="4" name="TextBox 4"/>
          <p:cNvSpPr txBox="1"/>
          <p:nvPr/>
        </p:nvSpPr>
        <p:spPr>
          <a:xfrm>
            <a:off x="1426678" y="2297672"/>
            <a:ext cx="5278911" cy="5045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197"/>
              </a:lnSpc>
              <a:spcBef>
                <a:spcPct val="0"/>
              </a:spcBef>
            </a:pPr>
            <a:r>
              <a:rPr lang="en-US" sz="2998" dirty="0">
                <a:solidFill>
                  <a:srgbClr val="13538A"/>
                </a:solidFill>
                <a:latin typeface="Montserrat Extra-Bold"/>
              </a:rPr>
              <a:t>ПРОЕКТ "ДЕМОГРАФИЯ"</a:t>
            </a:r>
          </a:p>
        </p:txBody>
      </p:sp>
      <p:sp>
        <p:nvSpPr>
          <p:cNvPr id="5" name="TextBox 5"/>
          <p:cNvSpPr txBox="1"/>
          <p:nvPr/>
        </p:nvSpPr>
        <p:spPr>
          <a:xfrm>
            <a:off x="8400342" y="6240285"/>
            <a:ext cx="2168003" cy="554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 dirty="0">
                <a:solidFill>
                  <a:srgbClr val="13538A"/>
                </a:solidFill>
                <a:latin typeface="Montserrat Extra-Bold"/>
              </a:rPr>
              <a:t>МЛН.РУБ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8400342" y="3289892"/>
            <a:ext cx="2168011" cy="554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 dirty="0">
                <a:solidFill>
                  <a:srgbClr val="13538A"/>
                </a:solidFill>
                <a:latin typeface="Montserrat Extra-Bold"/>
              </a:rPr>
              <a:t>МЛН.РУБ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8338449" y="5171866"/>
            <a:ext cx="2229910" cy="10753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741"/>
              </a:lnSpc>
              <a:spcBef>
                <a:spcPct val="0"/>
              </a:spcBef>
            </a:pPr>
            <a:r>
              <a:rPr lang="en-US" sz="6244">
                <a:solidFill>
                  <a:srgbClr val="13538A"/>
                </a:solidFill>
                <a:latin typeface="Montserrat Extra-Bold"/>
              </a:rPr>
              <a:t>279,6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8400342" y="2221472"/>
            <a:ext cx="2106123" cy="10753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741"/>
              </a:lnSpc>
              <a:spcBef>
                <a:spcPct val="0"/>
              </a:spcBef>
            </a:pPr>
            <a:r>
              <a:rPr lang="en-US" sz="6244">
                <a:solidFill>
                  <a:srgbClr val="13538A"/>
                </a:solidFill>
                <a:latin typeface="Montserrat Extra-Bold"/>
              </a:rPr>
              <a:t>128,4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440497" y="2947399"/>
            <a:ext cx="7090485" cy="146302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10"/>
              </a:lnSpc>
            </a:pPr>
            <a:r>
              <a:rPr lang="en-US" sz="1650">
                <a:solidFill>
                  <a:srgbClr val="2C92D5"/>
                </a:solidFill>
                <a:latin typeface="Montserrat Extra-Bold"/>
              </a:rPr>
              <a:t>ЕЖЕМЕСЯЧНЫЕ ДЕНЕЖНЫЕ ВЫПЛАТЫ</a:t>
            </a:r>
          </a:p>
          <a:p>
            <a:pPr algn="ctr">
              <a:lnSpc>
                <a:spcPts val="2310"/>
              </a:lnSpc>
              <a:spcBef>
                <a:spcPct val="0"/>
              </a:spcBef>
            </a:pPr>
            <a:r>
              <a:rPr lang="en-US" sz="1650">
                <a:solidFill>
                  <a:srgbClr val="2C92D5"/>
                </a:solidFill>
                <a:latin typeface="Montserrat Extra-Bold"/>
              </a:rPr>
              <a:t>В СВЯЗИ С РОЖДЕНИЕМ (УСЫНОВЛЕНИЕМ) ПЕРВОГО РЕБЕНКА, В СЛУЧАЕ РОЖДЕНИЯ ТРЕТЬЕГО РЕБЕНКА ИЛИ ПОСЛЕДУЮЩИХ ДЕТЕЙ ДО ДОСТИЖЕНИЯ РЕБЕНКОМ ВОЗРАСТА 3-Х ЛЕТ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528455" y="6199608"/>
            <a:ext cx="7002526" cy="103450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20"/>
              </a:lnSpc>
              <a:spcBef>
                <a:spcPct val="0"/>
              </a:spcBef>
            </a:pPr>
            <a:r>
              <a:rPr lang="en-US" sz="1943">
                <a:solidFill>
                  <a:srgbClr val="2C92D5"/>
                </a:solidFill>
                <a:latin typeface="Montserrat Extra-Bold"/>
              </a:rPr>
              <a:t>ул. Трудовая, ул. Первомайская, ул. Московская, ул. Монтажная, ул. Луначарского, ул. Комарова, ул. Достоевского</a:t>
            </a:r>
          </a:p>
        </p:txBody>
      </p:sp>
      <p:pic>
        <p:nvPicPr>
          <p:cNvPr id="11" name="Picture 1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782096" y="194163"/>
            <a:ext cx="2144842" cy="1135873"/>
          </a:xfrm>
          <a:prstGeom prst="rect">
            <a:avLst/>
          </a:prstGeom>
        </p:spPr>
      </p:pic>
      <p:grpSp>
        <p:nvGrpSpPr>
          <p:cNvPr id="12" name="Group 12"/>
          <p:cNvGrpSpPr>
            <a:grpSpLocks noChangeAspect="1"/>
          </p:cNvGrpSpPr>
          <p:nvPr/>
        </p:nvGrpSpPr>
        <p:grpSpPr>
          <a:xfrm>
            <a:off x="16343213" y="8981975"/>
            <a:ext cx="3927674" cy="3927674"/>
            <a:chOff x="0" y="0"/>
            <a:chExt cx="6355080" cy="635508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14" name="Group 14"/>
          <p:cNvGrpSpPr/>
          <p:nvPr/>
        </p:nvGrpSpPr>
        <p:grpSpPr>
          <a:xfrm>
            <a:off x="371101" y="-150939"/>
            <a:ext cx="504017" cy="557766"/>
            <a:chOff x="0" y="0"/>
            <a:chExt cx="672023" cy="743688"/>
          </a:xfrm>
        </p:grpSpPr>
        <p:grpSp>
          <p:nvGrpSpPr>
            <p:cNvPr id="15" name="Group 15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16" name="Freeform 16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7" name="Group 17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18" name="Freeform 18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9" name="Group 19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20" name="Freeform 20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1" name="Group 21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22" name="Freeform 22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3" name="Group 23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24" name="Freeform 24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5" name="Group 25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26" name="Freeform 26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7" name="Group 27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28" name="Freeform 28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9" name="Group 29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30" name="Freeform 30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31" name="Group 31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32" name="Freeform 32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sp>
        <p:nvSpPr>
          <p:cNvPr id="33" name="AutoShape 33"/>
          <p:cNvSpPr/>
          <p:nvPr/>
        </p:nvSpPr>
        <p:spPr>
          <a:xfrm>
            <a:off x="371074" y="1970487"/>
            <a:ext cx="10507450" cy="0"/>
          </a:xfrm>
          <a:prstGeom prst="line">
            <a:avLst/>
          </a:prstGeom>
          <a:ln w="47625" cap="rnd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34" name="AutoShape 34"/>
          <p:cNvSpPr/>
          <p:nvPr/>
        </p:nvSpPr>
        <p:spPr>
          <a:xfrm>
            <a:off x="371074" y="4773361"/>
            <a:ext cx="10507450" cy="0"/>
          </a:xfrm>
          <a:prstGeom prst="line">
            <a:avLst/>
          </a:prstGeom>
          <a:ln w="47625" cap="rnd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35" name="AutoShape 35"/>
          <p:cNvSpPr/>
          <p:nvPr/>
        </p:nvSpPr>
        <p:spPr>
          <a:xfrm>
            <a:off x="371074" y="7418880"/>
            <a:ext cx="10507450" cy="0"/>
          </a:xfrm>
          <a:prstGeom prst="line">
            <a:avLst/>
          </a:prstGeom>
          <a:ln w="47625" cap="rnd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36" name="AutoShape 36"/>
          <p:cNvSpPr/>
          <p:nvPr/>
        </p:nvSpPr>
        <p:spPr>
          <a:xfrm rot="-5400000">
            <a:off x="4169678" y="5626903"/>
            <a:ext cx="7360457" cy="0"/>
          </a:xfrm>
          <a:prstGeom prst="line">
            <a:avLst/>
          </a:prstGeom>
          <a:ln w="47625" cap="rnd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37" name="TextBox 37"/>
          <p:cNvSpPr txBox="1"/>
          <p:nvPr/>
        </p:nvSpPr>
        <p:spPr>
          <a:xfrm>
            <a:off x="336885" y="7677646"/>
            <a:ext cx="7237905" cy="5547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>
                <a:solidFill>
                  <a:srgbClr val="13538A"/>
                </a:solidFill>
                <a:latin typeface="Montserrat Extra-Bold"/>
              </a:rPr>
              <a:t>"ЖИЛЬЕ И ГОРОДСКАЯ СРЕДА"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8400342" y="8679390"/>
            <a:ext cx="2168003" cy="554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 dirty="0">
                <a:solidFill>
                  <a:srgbClr val="13538A"/>
                </a:solidFill>
                <a:latin typeface="Montserrat Extra-Bold"/>
              </a:rPr>
              <a:t>МЛН.РУБ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8400342" y="7610971"/>
            <a:ext cx="2106123" cy="10753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741"/>
              </a:lnSpc>
              <a:spcBef>
                <a:spcPct val="0"/>
              </a:spcBef>
            </a:pPr>
            <a:r>
              <a:rPr lang="en-US" sz="6244">
                <a:solidFill>
                  <a:srgbClr val="13538A"/>
                </a:solidFill>
                <a:latin typeface="Montserrat Extra-Bold"/>
              </a:rPr>
              <a:t>148,2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0" y="8468778"/>
            <a:ext cx="7911675" cy="8621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94"/>
              </a:lnSpc>
              <a:spcBef>
                <a:spcPct val="0"/>
              </a:spcBef>
            </a:pPr>
            <a:r>
              <a:rPr lang="en-US" sz="2495">
                <a:solidFill>
                  <a:srgbClr val="2C92D5"/>
                </a:solidFill>
                <a:latin typeface="Montserrat Extra-Bold"/>
              </a:rPr>
              <a:t>БЛАГОУСТРОЙСТВО БУЛЬВАР МИРА ТРЕТЬЯ ОЧЕРЕДЬ</a:t>
            </a:r>
          </a:p>
        </p:txBody>
      </p:sp>
      <p:pic>
        <p:nvPicPr>
          <p:cNvPr id="41" name="Picture 4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1578925" y="5771462"/>
            <a:ext cx="4183502" cy="4183502"/>
          </a:xfrm>
          <a:prstGeom prst="rect">
            <a:avLst/>
          </a:prstGeom>
        </p:spPr>
      </p:pic>
      <p:pic>
        <p:nvPicPr>
          <p:cNvPr id="42" name="Picture 4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3829573" y="3687800"/>
            <a:ext cx="3865708" cy="3860876"/>
          </a:xfrm>
          <a:prstGeom prst="rect">
            <a:avLst/>
          </a:prstGeom>
        </p:spPr>
      </p:pic>
      <p:pic>
        <p:nvPicPr>
          <p:cNvPr id="43" name="Picture 43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1718329" y="1357294"/>
            <a:ext cx="3832653" cy="3832653"/>
          </a:xfrm>
          <a:prstGeom prst="rect">
            <a:avLst/>
          </a:prstGeom>
        </p:spPr>
      </p:pic>
      <p:sp>
        <p:nvSpPr>
          <p:cNvPr id="44" name="TextBox 44"/>
          <p:cNvSpPr txBox="1"/>
          <p:nvPr/>
        </p:nvSpPr>
        <p:spPr>
          <a:xfrm>
            <a:off x="4590796" y="613877"/>
            <a:ext cx="9106408" cy="110591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</a:pPr>
            <a:r>
              <a:rPr lang="en-US" sz="3147" dirty="0">
                <a:solidFill>
                  <a:srgbClr val="2C92D5"/>
                </a:solidFill>
                <a:latin typeface="Montserrat Extra-Bold"/>
              </a:rPr>
              <a:t>НАЦИОНАЛЬНЫЕ ПРОЕКТЫ В 2022 ГОДУ</a:t>
            </a:r>
          </a:p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2C92D5"/>
                </a:solidFill>
                <a:latin typeface="Montserrat Extra-Bold"/>
              </a:rPr>
              <a:t>НА СУММУ 556,2 МЛН.РУБ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811600" y="194163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-1441531" y="1178374"/>
            <a:ext cx="8444617" cy="8444617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371101" y="-150939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grpSp>
        <p:nvGrpSpPr>
          <p:cNvPr id="24" name="Group 24"/>
          <p:cNvGrpSpPr>
            <a:grpSpLocks noChangeAspect="1"/>
          </p:cNvGrpSpPr>
          <p:nvPr/>
        </p:nvGrpSpPr>
        <p:grpSpPr>
          <a:xfrm>
            <a:off x="-1280360" y="1330036"/>
            <a:ext cx="8141325" cy="8141293"/>
            <a:chOff x="0" y="0"/>
            <a:chExt cx="6350000" cy="6349975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blipFill>
              <a:blip r:embed="rId3"/>
              <a:stretch>
                <a:fillRect t="-1997" r="-35996"/>
              </a:stretch>
            </a:blipFill>
          </p:spPr>
        </p:sp>
      </p:grpSp>
      <p:grpSp>
        <p:nvGrpSpPr>
          <p:cNvPr id="26" name="Group 26"/>
          <p:cNvGrpSpPr/>
          <p:nvPr/>
        </p:nvGrpSpPr>
        <p:grpSpPr>
          <a:xfrm>
            <a:off x="8985364" y="1622198"/>
            <a:ext cx="6545668" cy="6545668"/>
            <a:chOff x="0" y="0"/>
            <a:chExt cx="8727557" cy="8727557"/>
          </a:xfrm>
        </p:grpSpPr>
        <p:grpSp>
          <p:nvGrpSpPr>
            <p:cNvPr id="27" name="Group 27"/>
            <p:cNvGrpSpPr>
              <a:grpSpLocks noChangeAspect="1"/>
            </p:cNvGrpSpPr>
            <p:nvPr/>
          </p:nvGrpSpPr>
          <p:grpSpPr>
            <a:xfrm>
              <a:off x="0" y="0"/>
              <a:ext cx="8727557" cy="8727557"/>
              <a:chOff x="0" y="0"/>
              <a:chExt cx="2540000" cy="2540000"/>
            </a:xfrm>
          </p:grpSpPr>
          <p:sp>
            <p:nvSpPr>
              <p:cNvPr id="28" name="Freeform 28"/>
              <p:cNvSpPr/>
              <p:nvPr/>
            </p:nvSpPr>
            <p:spPr>
              <a:xfrm>
                <a:off x="1270000" y="0"/>
                <a:ext cx="1336847" cy="2504916"/>
              </a:xfrm>
              <a:custGeom>
                <a:avLst/>
                <a:gdLst/>
                <a:ahLst/>
                <a:cxnLst/>
                <a:rect l="l" t="t" r="r" b="b"/>
                <a:pathLst>
                  <a:path w="1336847" h="2504916">
                    <a:moveTo>
                      <a:pt x="0" y="0"/>
                    </a:moveTo>
                    <a:lnTo>
                      <a:pt x="0" y="0"/>
                    </a:lnTo>
                    <a:cubicBezTo>
                      <a:pt x="643665" y="0"/>
                      <a:pt x="1185550" y="481536"/>
                      <a:pt x="1261198" y="1120740"/>
                    </a:cubicBezTo>
                    <a:cubicBezTo>
                      <a:pt x="1336847" y="1759944"/>
                      <a:pt x="922334" y="2354668"/>
                      <a:pt x="296451" y="2504916"/>
                    </a:cubicBezTo>
                    <a:lnTo>
                      <a:pt x="0" y="1270000"/>
                    </a:lnTo>
                    <a:close/>
                  </a:path>
                </a:pathLst>
              </a:custGeom>
              <a:solidFill>
                <a:srgbClr val="3EDAD8"/>
              </a:solidFill>
            </p:spPr>
          </p:sp>
          <p:sp>
            <p:nvSpPr>
              <p:cNvPr id="29" name="Freeform 29"/>
              <p:cNvSpPr/>
              <p:nvPr/>
            </p:nvSpPr>
            <p:spPr>
              <a:xfrm>
                <a:off x="-91617" y="685345"/>
                <a:ext cx="1719417" cy="1946536"/>
              </a:xfrm>
              <a:custGeom>
                <a:avLst/>
                <a:gdLst/>
                <a:ahLst/>
                <a:cxnLst/>
                <a:rect l="l" t="t" r="r" b="b"/>
                <a:pathLst>
                  <a:path w="1719417" h="1946536">
                    <a:moveTo>
                      <a:pt x="1719417" y="1803211"/>
                    </a:moveTo>
                    <a:cubicBezTo>
                      <a:pt x="1231300" y="1946535"/>
                      <a:pt x="704754" y="1784752"/>
                      <a:pt x="381325" y="1392076"/>
                    </a:cubicBezTo>
                    <a:cubicBezTo>
                      <a:pt x="57896" y="999400"/>
                      <a:pt x="0" y="451611"/>
                      <a:pt x="234196" y="0"/>
                    </a:cubicBezTo>
                    <a:lnTo>
                      <a:pt x="1361617" y="584655"/>
                    </a:lnTo>
                    <a:close/>
                  </a:path>
                </a:pathLst>
              </a:custGeom>
              <a:solidFill>
                <a:srgbClr val="00AECA"/>
              </a:solidFill>
            </p:spPr>
          </p:sp>
          <p:sp>
            <p:nvSpPr>
              <p:cNvPr id="30" name="Freeform 30"/>
              <p:cNvSpPr/>
              <p:nvPr/>
            </p:nvSpPr>
            <p:spPr>
              <a:xfrm>
                <a:off x="114767" y="0"/>
                <a:ext cx="1155233" cy="1270000"/>
              </a:xfrm>
              <a:custGeom>
                <a:avLst/>
                <a:gdLst/>
                <a:ahLst/>
                <a:cxnLst/>
                <a:rect l="l" t="t" r="r" b="b"/>
                <a:pathLst>
                  <a:path w="1155233" h="1270000">
                    <a:moveTo>
                      <a:pt x="0" y="742423"/>
                    </a:moveTo>
                    <a:cubicBezTo>
                      <a:pt x="206529" y="290189"/>
                      <a:pt x="657944" y="50"/>
                      <a:pt x="1155106" y="0"/>
                    </a:cubicBezTo>
                    <a:lnTo>
                      <a:pt x="1155233" y="1270000"/>
                    </a:lnTo>
                    <a:close/>
                  </a:path>
                </a:pathLst>
              </a:custGeom>
              <a:solidFill>
                <a:srgbClr val="0081B4"/>
              </a:solidFill>
            </p:spPr>
          </p:sp>
          <p:sp>
            <p:nvSpPr>
              <p:cNvPr id="31" name="Freeform 31"/>
              <p:cNvSpPr/>
              <p:nvPr/>
            </p:nvSpPr>
            <p:spPr>
              <a:xfrm>
                <a:off x="1270000" y="0"/>
                <a:ext cx="127" cy="1270000"/>
              </a:xfrm>
              <a:custGeom>
                <a:avLst/>
                <a:gdLst/>
                <a:ahLst/>
                <a:cxnLst/>
                <a:rect l="l" t="t" r="r" b="b"/>
                <a:pathLst>
                  <a:path w="127" h="1270000">
                    <a:moveTo>
                      <a:pt x="0" y="0"/>
                    </a:moveTo>
                    <a:cubicBezTo>
                      <a:pt x="42" y="0"/>
                      <a:pt x="85" y="0"/>
                      <a:pt x="127" y="0"/>
                    </a:cubicBezTo>
                    <a:lnTo>
                      <a:pt x="0" y="1270000"/>
                    </a:lnTo>
                    <a:close/>
                  </a:path>
                </a:pathLst>
              </a:custGeom>
              <a:solidFill>
                <a:srgbClr val="005694"/>
              </a:solidFill>
            </p:spPr>
          </p:sp>
        </p:grpSp>
      </p:grpSp>
      <p:pic>
        <p:nvPicPr>
          <p:cNvPr id="32" name="Picture 3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>
            <a:fillRect/>
          </a:stretch>
        </p:blipFill>
        <p:spPr>
          <a:xfrm>
            <a:off x="9594462" y="2231297"/>
            <a:ext cx="5327471" cy="5327471"/>
          </a:xfrm>
          <a:prstGeom prst="rect">
            <a:avLst/>
          </a:prstGeom>
        </p:spPr>
      </p:pic>
      <p:pic>
        <p:nvPicPr>
          <p:cNvPr id="33" name="Picture 3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0417123" y="5240371"/>
            <a:ext cx="1737852" cy="920338"/>
          </a:xfrm>
          <a:prstGeom prst="rect">
            <a:avLst/>
          </a:prstGeom>
        </p:spPr>
      </p:pic>
      <p:pic>
        <p:nvPicPr>
          <p:cNvPr id="34" name="Picture 34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12878018" y="3771342"/>
            <a:ext cx="737061" cy="921327"/>
          </a:xfrm>
          <a:prstGeom prst="rect">
            <a:avLst/>
          </a:prstGeom>
        </p:spPr>
      </p:pic>
      <p:pic>
        <p:nvPicPr>
          <p:cNvPr id="35" name="Picture 35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10982012" y="2438152"/>
            <a:ext cx="904671" cy="1055324"/>
          </a:xfrm>
          <a:prstGeom prst="rect">
            <a:avLst/>
          </a:prstGeom>
        </p:spPr>
      </p:pic>
      <p:grpSp>
        <p:nvGrpSpPr>
          <p:cNvPr id="36" name="Group 36"/>
          <p:cNvGrpSpPr/>
          <p:nvPr/>
        </p:nvGrpSpPr>
        <p:grpSpPr>
          <a:xfrm>
            <a:off x="6510904" y="8344389"/>
            <a:ext cx="11445538" cy="1443705"/>
            <a:chOff x="0" y="0"/>
            <a:chExt cx="6555018" cy="826830"/>
          </a:xfrm>
        </p:grpSpPr>
        <p:sp>
          <p:nvSpPr>
            <p:cNvPr id="37" name="Freeform 37"/>
            <p:cNvSpPr/>
            <p:nvPr/>
          </p:nvSpPr>
          <p:spPr>
            <a:xfrm>
              <a:off x="0" y="0"/>
              <a:ext cx="6555018" cy="826830"/>
            </a:xfrm>
            <a:custGeom>
              <a:avLst/>
              <a:gdLst/>
              <a:ahLst/>
              <a:cxnLst/>
              <a:rect l="l" t="t" r="r" b="b"/>
              <a:pathLst>
                <a:path w="6555018" h="826830">
                  <a:moveTo>
                    <a:pt x="0" y="0"/>
                  </a:moveTo>
                  <a:lnTo>
                    <a:pt x="6555018" y="0"/>
                  </a:lnTo>
                  <a:lnTo>
                    <a:pt x="6555018" y="826830"/>
                  </a:lnTo>
                  <a:lnTo>
                    <a:pt x="0" y="826830"/>
                  </a:lnTo>
                  <a:close/>
                </a:path>
              </a:pathLst>
            </a:custGeom>
            <a:solidFill>
              <a:srgbClr val="0FB293"/>
            </a:solidFill>
          </p:spPr>
        </p:sp>
      </p:grpSp>
      <p:pic>
        <p:nvPicPr>
          <p:cNvPr id="38" name="Picture 38"/>
          <p:cNvPicPr>
            <a:picLocks noChangeAspect="1"/>
          </p:cNvPicPr>
          <p:nvPr/>
        </p:nvPicPr>
        <p:blipFill>
          <a:blip r:embed="rId8"/>
          <a:srcRect l="16360" t="23340" r="18591" b="21299"/>
          <a:stretch>
            <a:fillRect/>
          </a:stretch>
        </p:blipFill>
        <p:spPr>
          <a:xfrm>
            <a:off x="13696516" y="3846281"/>
            <a:ext cx="911976" cy="905154"/>
          </a:xfrm>
          <a:prstGeom prst="rect">
            <a:avLst/>
          </a:prstGeom>
        </p:spPr>
      </p:pic>
      <p:sp>
        <p:nvSpPr>
          <p:cNvPr id="39" name="TextBox 39"/>
          <p:cNvSpPr txBox="1"/>
          <p:nvPr/>
        </p:nvSpPr>
        <p:spPr>
          <a:xfrm>
            <a:off x="5942806" y="61269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6946561" y="1725760"/>
            <a:ext cx="3144929" cy="5835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748"/>
              </a:lnSpc>
              <a:spcBef>
                <a:spcPct val="0"/>
              </a:spcBef>
            </a:pPr>
            <a:r>
              <a:rPr lang="en-US" sz="3391" dirty="0">
                <a:solidFill>
                  <a:srgbClr val="13538A"/>
                </a:solidFill>
                <a:latin typeface="Montserrat Extra-Bold"/>
              </a:rPr>
              <a:t>1,8 МЛН. РУБ.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6946561" y="8585836"/>
            <a:ext cx="10797265" cy="9131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670"/>
              </a:lnSpc>
            </a:pPr>
            <a:r>
              <a:rPr lang="en-US" sz="2621" dirty="0">
                <a:solidFill>
                  <a:srgbClr val="FFFFFF"/>
                </a:solidFill>
                <a:latin typeface="Montserrat Extra-Bold"/>
              </a:rPr>
              <a:t>СРЕДСТВА НА ОБУСТРОЙСТВО СПОРТИВНОЙ ПЛОЩАДКИ</a:t>
            </a:r>
          </a:p>
          <a:p>
            <a:pPr algn="ctr">
              <a:lnSpc>
                <a:spcPts val="3670"/>
              </a:lnSpc>
              <a:spcBef>
                <a:spcPct val="0"/>
              </a:spcBef>
            </a:pPr>
            <a:r>
              <a:rPr lang="en-US" sz="2621" dirty="0">
                <a:solidFill>
                  <a:srgbClr val="FFFFFF"/>
                </a:solidFill>
                <a:latin typeface="Montserrat Extra-Bold"/>
              </a:rPr>
              <a:t>ПО УЛ. МЕНДЕЛЕЕВА, 16А В МБОУ ГИМНАЗИЯ № 10 ЛИК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7224586" y="7584285"/>
            <a:ext cx="3093433" cy="55944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748"/>
              </a:lnSpc>
              <a:spcBef>
                <a:spcPct val="0"/>
              </a:spcBef>
            </a:pPr>
            <a:r>
              <a:rPr lang="en-US" sz="3391" dirty="0">
                <a:solidFill>
                  <a:srgbClr val="0B93A8"/>
                </a:solidFill>
                <a:latin typeface="Montserrat Extra-Bold"/>
              </a:rPr>
              <a:t>4 МЛН. РУБ.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14921932" y="2113024"/>
            <a:ext cx="2906571" cy="55944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748"/>
              </a:lnSpc>
              <a:spcBef>
                <a:spcPct val="0"/>
              </a:spcBef>
            </a:pPr>
            <a:r>
              <a:rPr lang="en-US" sz="3391" dirty="0">
                <a:solidFill>
                  <a:srgbClr val="00AECA"/>
                </a:solidFill>
                <a:latin typeface="Montserrat Extra-Bold"/>
              </a:rPr>
              <a:t>5 МЛН. РУБ.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4982710" y="613877"/>
            <a:ext cx="8322579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2C92D5"/>
                </a:solidFill>
                <a:latin typeface="Montserrat Extra-Bold"/>
              </a:rPr>
              <a:t>ПОДДЕРЖКА МЕСТНЫХ ИНИЦИАТИВ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13086207" y="4770485"/>
            <a:ext cx="1338699" cy="80791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052"/>
              </a:lnSpc>
            </a:pPr>
            <a:r>
              <a:rPr lang="en-US" sz="1883" dirty="0">
                <a:solidFill>
                  <a:srgbClr val="2C92D5"/>
                </a:solidFill>
                <a:latin typeface="Montserrat Extra-Bold"/>
              </a:rPr>
              <a:t>средства</a:t>
            </a:r>
          </a:p>
          <a:p>
            <a:pPr algn="ctr">
              <a:lnSpc>
                <a:spcPts val="2052"/>
              </a:lnSpc>
            </a:pPr>
            <a:r>
              <a:rPr lang="en-US" sz="1883" dirty="0">
                <a:solidFill>
                  <a:srgbClr val="2C92D5"/>
                </a:solidFill>
                <a:latin typeface="Montserrat Extra-Bold"/>
              </a:rPr>
              <a:t>краевого</a:t>
            </a:r>
          </a:p>
          <a:p>
            <a:pPr algn="ctr">
              <a:lnSpc>
                <a:spcPts val="2052"/>
              </a:lnSpc>
            </a:pPr>
            <a:r>
              <a:rPr lang="en-US" sz="1883" dirty="0">
                <a:solidFill>
                  <a:srgbClr val="2C92D5"/>
                </a:solidFill>
                <a:latin typeface="Montserrat Extra-Bold"/>
              </a:rPr>
              <a:t>бюджета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10677522" y="6179759"/>
            <a:ext cx="1217055" cy="78924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052"/>
              </a:lnSpc>
            </a:pPr>
            <a:r>
              <a:rPr lang="en-US" sz="1883" dirty="0">
                <a:solidFill>
                  <a:srgbClr val="2C92D5"/>
                </a:solidFill>
                <a:latin typeface="Montserrat Extra-Bold"/>
              </a:rPr>
              <a:t>средства</a:t>
            </a:r>
          </a:p>
          <a:p>
            <a:pPr algn="ctr">
              <a:lnSpc>
                <a:spcPts val="2052"/>
              </a:lnSpc>
            </a:pPr>
            <a:r>
              <a:rPr lang="en-US" sz="1883" dirty="0">
                <a:solidFill>
                  <a:srgbClr val="2C92D5"/>
                </a:solidFill>
                <a:latin typeface="Montserrat Extra-Bold"/>
              </a:rPr>
              <a:t>бюджета</a:t>
            </a:r>
          </a:p>
          <a:p>
            <a:pPr algn="ctr">
              <a:lnSpc>
                <a:spcPts val="2052"/>
              </a:lnSpc>
            </a:pPr>
            <a:r>
              <a:rPr lang="en-US" sz="1883" dirty="0">
                <a:solidFill>
                  <a:srgbClr val="2C92D5"/>
                </a:solidFill>
                <a:latin typeface="Montserrat Extra-Bold"/>
              </a:rPr>
              <a:t>города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0559375" y="3556500"/>
            <a:ext cx="1749946" cy="8897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726"/>
              </a:lnSpc>
            </a:pPr>
            <a:r>
              <a:rPr lang="en-US" sz="1584" dirty="0">
                <a:solidFill>
                  <a:srgbClr val="2C92D5"/>
                </a:solidFill>
                <a:latin typeface="Montserrat Extra-Bold"/>
              </a:rPr>
              <a:t>средства</a:t>
            </a:r>
          </a:p>
          <a:p>
            <a:pPr algn="ctr">
              <a:lnSpc>
                <a:spcPts val="1726"/>
              </a:lnSpc>
            </a:pPr>
            <a:r>
              <a:rPr lang="en-US" sz="1584" dirty="0">
                <a:solidFill>
                  <a:srgbClr val="2C92D5"/>
                </a:solidFill>
                <a:latin typeface="Montserrat Extra-Bold"/>
              </a:rPr>
              <a:t>физических</a:t>
            </a:r>
          </a:p>
          <a:p>
            <a:pPr algn="ctr">
              <a:lnSpc>
                <a:spcPts val="1726"/>
              </a:lnSpc>
            </a:pPr>
            <a:r>
              <a:rPr lang="en-US" sz="1584" dirty="0">
                <a:solidFill>
                  <a:srgbClr val="2C92D5"/>
                </a:solidFill>
                <a:latin typeface="Montserrat Extra-Bold"/>
              </a:rPr>
              <a:t>и юридических</a:t>
            </a:r>
          </a:p>
          <a:p>
            <a:pPr algn="ctr">
              <a:lnSpc>
                <a:spcPts val="1726"/>
              </a:lnSpc>
            </a:pPr>
            <a:r>
              <a:rPr lang="en-US" sz="1584" dirty="0">
                <a:solidFill>
                  <a:srgbClr val="2C92D5"/>
                </a:solidFill>
                <a:latin typeface="Montserrat Extra-Bold"/>
              </a:rPr>
              <a:t>лиц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811600" y="194163"/>
            <a:ext cx="2144842" cy="1135873"/>
          </a:xfrm>
          <a:prstGeom prst="rect">
            <a:avLst/>
          </a:prstGeom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428570" y="1451447"/>
            <a:ext cx="13692571" cy="8609204"/>
          </a:xfrm>
          <a:prstGeom prst="rect">
            <a:avLst/>
          </a:prstGeom>
        </p:spPr>
      </p:pic>
      <p:sp>
        <p:nvSpPr>
          <p:cNvPr id="4" name="TextBox 4"/>
          <p:cNvSpPr txBox="1"/>
          <p:nvPr/>
        </p:nvSpPr>
        <p:spPr>
          <a:xfrm>
            <a:off x="5942806" y="61269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5" name="TextBox 5"/>
          <p:cNvSpPr txBox="1"/>
          <p:nvPr/>
        </p:nvSpPr>
        <p:spPr>
          <a:xfrm>
            <a:off x="2847882" y="637843"/>
            <a:ext cx="12592237" cy="50791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141"/>
              </a:lnSpc>
              <a:spcBef>
                <a:spcPct val="0"/>
              </a:spcBef>
            </a:pPr>
            <a:r>
              <a:rPr lang="en-US" sz="2957" dirty="0">
                <a:solidFill>
                  <a:srgbClr val="2C92D5"/>
                </a:solidFill>
                <a:latin typeface="Montserrat Extra-Bold"/>
              </a:rPr>
              <a:t>ПРОГРАММНАЯ СТРУКТУРА РАСХОДОВ БЮДЖЕТА ГОРОДА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3911894" y="6316951"/>
            <a:ext cx="1344880" cy="59048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39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СОЦИАЛЬНАЯ </a:t>
            </a:r>
          </a:p>
          <a:p>
            <a:pPr algn="ctr">
              <a:lnSpc>
                <a:spcPts val="1639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ПОДДЕРЖКА </a:t>
            </a:r>
          </a:p>
          <a:p>
            <a:pPr algn="ctr">
              <a:lnSpc>
                <a:spcPts val="1639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ГРАЖДАН</a:t>
            </a:r>
          </a:p>
        </p:txBody>
      </p:sp>
      <p:sp>
        <p:nvSpPr>
          <p:cNvPr id="7" name="TextBox 7"/>
          <p:cNvSpPr txBox="1"/>
          <p:nvPr/>
        </p:nvSpPr>
        <p:spPr>
          <a:xfrm rot="1027099">
            <a:off x="3820836" y="4525866"/>
            <a:ext cx="1648118" cy="83651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109"/>
              </a:lnSpc>
            </a:pPr>
            <a:r>
              <a:rPr lang="en-US" sz="8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Black" panose="00000A00000000000000" pitchFamily="2" charset="-52"/>
              </a:rPr>
              <a:t>ПОДДЕРЖКА </a:t>
            </a:r>
          </a:p>
          <a:p>
            <a:pPr algn="ctr">
              <a:lnSpc>
                <a:spcPts val="1109"/>
              </a:lnSpc>
            </a:pPr>
            <a:r>
              <a:rPr lang="en-US" sz="8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Black" panose="00000A00000000000000" pitchFamily="2" charset="-52"/>
              </a:rPr>
              <a:t>СУБЪЕКТОВ </a:t>
            </a:r>
          </a:p>
          <a:p>
            <a:pPr algn="ctr">
              <a:lnSpc>
                <a:spcPts val="1109"/>
              </a:lnSpc>
            </a:pPr>
            <a:r>
              <a:rPr lang="en-US" sz="8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Black" panose="00000A00000000000000" pitchFamily="2" charset="-52"/>
              </a:rPr>
              <a:t>МАЛОГО</a:t>
            </a:r>
          </a:p>
          <a:p>
            <a:pPr algn="ctr">
              <a:lnSpc>
                <a:spcPts val="1109"/>
              </a:lnSpc>
            </a:pPr>
            <a:r>
              <a:rPr lang="en-US" sz="8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Black" panose="00000A00000000000000" pitchFamily="2" charset="-52"/>
              </a:rPr>
              <a:t>И СРЕДНЕГО </a:t>
            </a:r>
          </a:p>
          <a:p>
            <a:pPr algn="ctr">
              <a:lnSpc>
                <a:spcPts val="1109"/>
              </a:lnSpc>
            </a:pPr>
            <a:r>
              <a:rPr lang="en-US" sz="8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Black" panose="00000A00000000000000" pitchFamily="2" charset="-52"/>
              </a:rPr>
              <a:t>ПРЕДПРИНИМАТЕЛЬСТВА</a:t>
            </a:r>
          </a:p>
          <a:p>
            <a:pPr algn="ctr">
              <a:lnSpc>
                <a:spcPts val="1109"/>
              </a:lnSpc>
            </a:pPr>
            <a:endParaRPr lang="en-US" sz="80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tserrat Black" panose="00000A00000000000000" pitchFamily="2" charset="-52"/>
            </a:endParaRPr>
          </a:p>
        </p:txBody>
      </p:sp>
      <p:sp>
        <p:nvSpPr>
          <p:cNvPr id="8" name="TextBox 8"/>
          <p:cNvSpPr txBox="1"/>
          <p:nvPr/>
        </p:nvSpPr>
        <p:spPr>
          <a:xfrm rot="-1610921">
            <a:off x="4701897" y="3035420"/>
            <a:ext cx="2075736" cy="71032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397"/>
              </a:lnSpc>
            </a:pPr>
            <a:r>
              <a:rPr lang="en-US" sz="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Black" panose="00000A00000000000000" pitchFamily="2" charset="-52"/>
              </a:rPr>
              <a:t>РАЗВИТИЕ </a:t>
            </a:r>
          </a:p>
          <a:p>
            <a:pPr algn="ctr">
              <a:lnSpc>
                <a:spcPts val="1397"/>
              </a:lnSpc>
            </a:pPr>
            <a:r>
              <a:rPr lang="en-US" sz="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Black" panose="00000A00000000000000" pitchFamily="2" charset="-52"/>
              </a:rPr>
              <a:t>МУНИЦИПАЛЬНОЙ </a:t>
            </a:r>
          </a:p>
          <a:p>
            <a:pPr algn="ctr">
              <a:lnSpc>
                <a:spcPts val="1397"/>
              </a:lnSpc>
            </a:pPr>
            <a:r>
              <a:rPr lang="en-US" sz="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Black" panose="00000A00000000000000" pitchFamily="2" charset="-52"/>
              </a:rPr>
              <a:t>СЛУЖБЫ</a:t>
            </a:r>
          </a:p>
          <a:p>
            <a:pPr algn="ctr">
              <a:lnSpc>
                <a:spcPts val="1397"/>
              </a:lnSpc>
            </a:pPr>
            <a:endParaRPr lang="en-US" sz="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tserrat Black" panose="00000A00000000000000" pitchFamily="2" charset="-52"/>
            </a:endParaRPr>
          </a:p>
        </p:txBody>
      </p:sp>
      <p:sp>
        <p:nvSpPr>
          <p:cNvPr id="9" name="TextBox 9"/>
          <p:cNvSpPr txBox="1"/>
          <p:nvPr/>
        </p:nvSpPr>
        <p:spPr>
          <a:xfrm rot="1093307">
            <a:off x="6665516" y="2989334"/>
            <a:ext cx="2075736" cy="8813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397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МЕЖНАЦИОНАЛЬНЫЕ </a:t>
            </a:r>
          </a:p>
          <a:p>
            <a:pPr algn="ctr">
              <a:lnSpc>
                <a:spcPts val="1397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ОТНОШЕНИЯ И </a:t>
            </a:r>
          </a:p>
          <a:p>
            <a:pPr algn="ctr">
              <a:lnSpc>
                <a:spcPts val="1397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ПОДДЕРЖКА </a:t>
            </a:r>
          </a:p>
          <a:p>
            <a:pPr algn="ctr">
              <a:lnSpc>
                <a:spcPts val="1397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КАЗАЧЕСТВА</a:t>
            </a:r>
          </a:p>
          <a:p>
            <a:pPr algn="ctr">
              <a:lnSpc>
                <a:spcPts val="1397"/>
              </a:lnSpc>
            </a:pPr>
            <a:endParaRPr lang="en-US" sz="900" dirty="0">
              <a:solidFill>
                <a:srgbClr val="FFFFFF"/>
              </a:solidFill>
              <a:latin typeface="Montserrat Black" panose="00000A00000000000000" pitchFamily="2" charset="-52"/>
            </a:endParaRPr>
          </a:p>
        </p:txBody>
      </p:sp>
      <p:sp>
        <p:nvSpPr>
          <p:cNvPr id="10" name="TextBox 10"/>
          <p:cNvSpPr txBox="1"/>
          <p:nvPr/>
        </p:nvSpPr>
        <p:spPr>
          <a:xfrm rot="-1572880">
            <a:off x="7741359" y="4833102"/>
            <a:ext cx="2075736" cy="2391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9"/>
              </a:lnSpc>
            </a:pPr>
            <a:r>
              <a:rPr lang="en-US" sz="1694" dirty="0">
                <a:solidFill>
                  <a:srgbClr val="FFFFFF"/>
                </a:solidFill>
                <a:latin typeface="Montserrat Extra-Bold"/>
              </a:rPr>
              <a:t>Образование</a:t>
            </a:r>
          </a:p>
        </p:txBody>
      </p:sp>
      <p:sp>
        <p:nvSpPr>
          <p:cNvPr id="11" name="TextBox 11"/>
          <p:cNvSpPr txBox="1"/>
          <p:nvPr/>
        </p:nvSpPr>
        <p:spPr>
          <a:xfrm rot="-1572880">
            <a:off x="8746536" y="6412228"/>
            <a:ext cx="1878087" cy="65040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264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БЕЗОПАСНЫЕ</a:t>
            </a:r>
          </a:p>
          <a:p>
            <a:pPr algn="ctr">
              <a:lnSpc>
                <a:spcPts val="1264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И КАЧЕСТВЕННЫЕ </a:t>
            </a:r>
          </a:p>
          <a:p>
            <a:pPr algn="ctr">
              <a:lnSpc>
                <a:spcPts val="1264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АВТОМОБИЛЬНЫЕ </a:t>
            </a:r>
          </a:p>
          <a:p>
            <a:pPr algn="ctr">
              <a:lnSpc>
                <a:spcPts val="1264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ДОРОГИ </a:t>
            </a:r>
          </a:p>
        </p:txBody>
      </p:sp>
      <p:sp>
        <p:nvSpPr>
          <p:cNvPr id="12" name="TextBox 12"/>
          <p:cNvSpPr txBox="1"/>
          <p:nvPr/>
        </p:nvSpPr>
        <p:spPr>
          <a:xfrm rot="1631887">
            <a:off x="9991530" y="7723536"/>
            <a:ext cx="1970636" cy="65517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327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РАЗВИТИЕ </a:t>
            </a:r>
          </a:p>
          <a:p>
            <a:pPr algn="ctr">
              <a:lnSpc>
                <a:spcPts val="1327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ФИЗИЧЕСКОЙ </a:t>
            </a:r>
          </a:p>
          <a:p>
            <a:pPr algn="ctr">
              <a:lnSpc>
                <a:spcPts val="1327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КУЛЬТУРЫ</a:t>
            </a:r>
          </a:p>
          <a:p>
            <a:pPr algn="ctr">
              <a:lnSpc>
                <a:spcPts val="1327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 И СПОРТА</a:t>
            </a:r>
          </a:p>
        </p:txBody>
      </p:sp>
      <p:sp>
        <p:nvSpPr>
          <p:cNvPr id="13" name="TextBox 13"/>
          <p:cNvSpPr txBox="1"/>
          <p:nvPr/>
        </p:nvSpPr>
        <p:spPr>
          <a:xfrm rot="-1355431">
            <a:off x="11730357" y="7821209"/>
            <a:ext cx="1970636" cy="24442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67"/>
              </a:lnSpc>
            </a:pPr>
            <a:r>
              <a:rPr lang="en-US" sz="1728" dirty="0">
                <a:solidFill>
                  <a:srgbClr val="FFFFFF"/>
                </a:solidFill>
                <a:latin typeface="Montserrat Extra-Bold"/>
              </a:rPr>
              <a:t>Культура</a:t>
            </a:r>
          </a:p>
        </p:txBody>
      </p:sp>
      <p:sp>
        <p:nvSpPr>
          <p:cNvPr id="14" name="TextBox 14"/>
          <p:cNvSpPr txBox="1"/>
          <p:nvPr/>
        </p:nvSpPr>
        <p:spPr>
          <a:xfrm rot="-1022050">
            <a:off x="13160223" y="6131070"/>
            <a:ext cx="1970636" cy="7498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543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РАЗВИТИЕ </a:t>
            </a:r>
          </a:p>
          <a:p>
            <a:pPr algn="ctr">
              <a:lnSpc>
                <a:spcPts val="1543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ЖИЛИЩНО-КОММУНАЛЬНОГО </a:t>
            </a:r>
          </a:p>
          <a:p>
            <a:pPr algn="ctr">
              <a:lnSpc>
                <a:spcPts val="1543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ХОЗЯЙСТВА</a:t>
            </a:r>
          </a:p>
        </p:txBody>
      </p:sp>
      <p:sp>
        <p:nvSpPr>
          <p:cNvPr id="15" name="TextBox 15"/>
          <p:cNvSpPr txBox="1"/>
          <p:nvPr/>
        </p:nvSpPr>
        <p:spPr>
          <a:xfrm rot="-1823846">
            <a:off x="13234450" y="4530018"/>
            <a:ext cx="1824159" cy="8813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428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ФОРМИРОВАНИЕ</a:t>
            </a:r>
          </a:p>
          <a:p>
            <a:pPr algn="ctr">
              <a:lnSpc>
                <a:spcPts val="1428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 СОВРЕМЕННОЙ </a:t>
            </a:r>
          </a:p>
          <a:p>
            <a:pPr algn="ctr">
              <a:lnSpc>
                <a:spcPts val="1428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ГОРОДСКОЙ</a:t>
            </a:r>
          </a:p>
          <a:p>
            <a:pPr algn="ctr">
              <a:lnSpc>
                <a:spcPts val="1428"/>
              </a:lnSpc>
            </a:pPr>
            <a:r>
              <a:rPr lang="en-US" sz="900" dirty="0">
                <a:solidFill>
                  <a:srgbClr val="FFFFFF"/>
                </a:solidFill>
                <a:latin typeface="Montserrat Black" panose="00000A00000000000000" pitchFamily="2" charset="-52"/>
              </a:rPr>
              <a:t>СРЕДЫ</a:t>
            </a:r>
          </a:p>
          <a:p>
            <a:pPr algn="ctr">
              <a:lnSpc>
                <a:spcPts val="1428"/>
              </a:lnSpc>
            </a:pPr>
            <a:endParaRPr lang="en-US" sz="900" dirty="0">
              <a:solidFill>
                <a:srgbClr val="FFFFFF"/>
              </a:solidFill>
              <a:latin typeface="Montserrat Black" panose="00000A00000000000000" pitchFamily="2" charset="-52"/>
            </a:endParaRPr>
          </a:p>
        </p:txBody>
      </p:sp>
      <p:sp>
        <p:nvSpPr>
          <p:cNvPr id="16" name="TextBox 16"/>
          <p:cNvSpPr txBox="1"/>
          <p:nvPr/>
        </p:nvSpPr>
        <p:spPr>
          <a:xfrm>
            <a:off x="2837828" y="6889538"/>
            <a:ext cx="638149" cy="3590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826"/>
              </a:lnSpc>
            </a:pPr>
            <a:r>
              <a:rPr lang="ru-RU" sz="2400" dirty="0" smtClean="0">
                <a:solidFill>
                  <a:srgbClr val="004AAD"/>
                </a:solidFill>
                <a:latin typeface="Montserrat Extra-Bold"/>
              </a:rPr>
              <a:t>983</a:t>
            </a:r>
            <a:endParaRPr lang="en-US" sz="2400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17" name="TextBox 17"/>
          <p:cNvSpPr txBox="1"/>
          <p:nvPr/>
        </p:nvSpPr>
        <p:spPr>
          <a:xfrm>
            <a:off x="2921741" y="4046422"/>
            <a:ext cx="535561" cy="3702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26"/>
              </a:lnSpc>
            </a:pPr>
            <a:r>
              <a:rPr lang="ru-RU" sz="2617" dirty="0" smtClean="0">
                <a:solidFill>
                  <a:srgbClr val="004AAD"/>
                </a:solidFill>
                <a:latin typeface="Montserrat Extra-Bold"/>
              </a:rPr>
              <a:t>14</a:t>
            </a:r>
            <a:endParaRPr lang="en-US" sz="261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18" name="TextBox 18"/>
          <p:cNvSpPr txBox="1"/>
          <p:nvPr/>
        </p:nvSpPr>
        <p:spPr>
          <a:xfrm>
            <a:off x="4936371" y="1896334"/>
            <a:ext cx="535561" cy="3702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26"/>
              </a:lnSpc>
            </a:pPr>
            <a:r>
              <a:rPr lang="ru-RU" sz="2617" dirty="0" smtClean="0">
                <a:solidFill>
                  <a:srgbClr val="004AAD"/>
                </a:solidFill>
                <a:latin typeface="Montserrat Extra-Bold"/>
              </a:rPr>
              <a:t>123</a:t>
            </a:r>
            <a:endParaRPr lang="en-US" sz="261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19" name="TextBox 19"/>
          <p:cNvSpPr txBox="1"/>
          <p:nvPr/>
        </p:nvSpPr>
        <p:spPr>
          <a:xfrm>
            <a:off x="7793537" y="1896334"/>
            <a:ext cx="535561" cy="3702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26"/>
              </a:lnSpc>
            </a:pPr>
            <a:r>
              <a:rPr lang="ru-RU" sz="2617" dirty="0" smtClean="0">
                <a:solidFill>
                  <a:srgbClr val="004AAD"/>
                </a:solidFill>
                <a:latin typeface="Montserrat Extra-Bold"/>
              </a:rPr>
              <a:t>4</a:t>
            </a:r>
            <a:endParaRPr lang="en-US" sz="261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20" name="TextBox 20"/>
          <p:cNvSpPr txBox="1"/>
          <p:nvPr/>
        </p:nvSpPr>
        <p:spPr>
          <a:xfrm>
            <a:off x="9798536" y="3993569"/>
            <a:ext cx="855754" cy="3590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826"/>
              </a:lnSpc>
            </a:pPr>
            <a:r>
              <a:rPr lang="ru-RU" sz="2617" dirty="0" smtClean="0">
                <a:solidFill>
                  <a:srgbClr val="004AAD"/>
                </a:solidFill>
                <a:latin typeface="Montserrat Extra-Bold"/>
              </a:rPr>
              <a:t>1523</a:t>
            </a:r>
            <a:endParaRPr lang="en-US" sz="261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21" name="TextBox 21"/>
          <p:cNvSpPr txBox="1"/>
          <p:nvPr/>
        </p:nvSpPr>
        <p:spPr>
          <a:xfrm>
            <a:off x="7968262" y="6900543"/>
            <a:ext cx="706684" cy="3590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826"/>
              </a:lnSpc>
            </a:pPr>
            <a:r>
              <a:rPr lang="ru-RU" sz="2617" dirty="0" smtClean="0">
                <a:solidFill>
                  <a:srgbClr val="004AAD"/>
                </a:solidFill>
                <a:latin typeface="Montserrat Extra-Bold"/>
              </a:rPr>
              <a:t>283</a:t>
            </a:r>
            <a:endParaRPr lang="en-US" sz="261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22" name="TextBox 22"/>
          <p:cNvSpPr txBox="1"/>
          <p:nvPr/>
        </p:nvSpPr>
        <p:spPr>
          <a:xfrm>
            <a:off x="10118729" y="9014515"/>
            <a:ext cx="535561" cy="3702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26"/>
              </a:lnSpc>
            </a:pPr>
            <a:r>
              <a:rPr lang="ru-RU" sz="2617" dirty="0" smtClean="0">
                <a:solidFill>
                  <a:srgbClr val="004AAD"/>
                </a:solidFill>
                <a:latin typeface="Montserrat Extra-Bold"/>
              </a:rPr>
              <a:t>63</a:t>
            </a:r>
            <a:endParaRPr lang="en-US" sz="261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23" name="TextBox 23"/>
          <p:cNvSpPr txBox="1"/>
          <p:nvPr/>
        </p:nvSpPr>
        <p:spPr>
          <a:xfrm>
            <a:off x="12845204" y="8992938"/>
            <a:ext cx="708453" cy="3590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826"/>
              </a:lnSpc>
            </a:pPr>
            <a:r>
              <a:rPr lang="ru-RU" sz="2617" dirty="0" smtClean="0">
                <a:solidFill>
                  <a:srgbClr val="004AAD"/>
                </a:solidFill>
                <a:latin typeface="Montserrat Extra-Bold"/>
              </a:rPr>
              <a:t>105</a:t>
            </a:r>
            <a:endParaRPr lang="en-US" sz="261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24" name="TextBox 24"/>
          <p:cNvSpPr txBox="1"/>
          <p:nvPr/>
        </p:nvSpPr>
        <p:spPr>
          <a:xfrm>
            <a:off x="15095442" y="6918314"/>
            <a:ext cx="677958" cy="3590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826"/>
              </a:lnSpc>
            </a:pPr>
            <a:r>
              <a:rPr lang="ru-RU" sz="2617" dirty="0" smtClean="0">
                <a:solidFill>
                  <a:srgbClr val="004AAD"/>
                </a:solidFill>
                <a:latin typeface="Montserrat Extra-Bold"/>
              </a:rPr>
              <a:t>228</a:t>
            </a:r>
            <a:endParaRPr lang="en-US" sz="261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25" name="TextBox 25"/>
          <p:cNvSpPr txBox="1"/>
          <p:nvPr/>
        </p:nvSpPr>
        <p:spPr>
          <a:xfrm>
            <a:off x="15095442" y="4046422"/>
            <a:ext cx="535561" cy="3702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26"/>
              </a:lnSpc>
            </a:pPr>
            <a:r>
              <a:rPr lang="en-US" sz="2617" dirty="0">
                <a:solidFill>
                  <a:srgbClr val="004AAD"/>
                </a:solidFill>
                <a:latin typeface="Montserrat Extra-Bold"/>
              </a:rPr>
              <a:t>152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2743200" y="7274559"/>
            <a:ext cx="801311" cy="1282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033"/>
              </a:lnSpc>
            </a:pP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МЛ</a:t>
            </a:r>
            <a:r>
              <a:rPr lang="ru-RU" sz="957" dirty="0">
                <a:solidFill>
                  <a:srgbClr val="004AAD"/>
                </a:solidFill>
                <a:latin typeface="Montserrat Extra-Bold"/>
              </a:rPr>
              <a:t>Н</a:t>
            </a: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.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 </a:t>
            </a: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РУБ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.</a:t>
            </a:r>
            <a:endParaRPr lang="en-US" sz="95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27" name="TextBox 27"/>
          <p:cNvSpPr txBox="1"/>
          <p:nvPr/>
        </p:nvSpPr>
        <p:spPr>
          <a:xfrm>
            <a:off x="2769296" y="4386938"/>
            <a:ext cx="775215" cy="1282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033"/>
              </a:lnSpc>
            </a:pP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ТЫС. РУБ.</a:t>
            </a:r>
            <a:endParaRPr lang="en-US" sz="95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28" name="TextBox 28"/>
          <p:cNvSpPr txBox="1"/>
          <p:nvPr/>
        </p:nvSpPr>
        <p:spPr>
          <a:xfrm>
            <a:off x="4800600" y="2266602"/>
            <a:ext cx="758541" cy="1282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033"/>
              </a:lnSpc>
            </a:pP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ТЫС. РУБ.</a:t>
            </a:r>
            <a:endParaRPr lang="en-US" sz="95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29" name="TextBox 29"/>
          <p:cNvSpPr txBox="1"/>
          <p:nvPr/>
        </p:nvSpPr>
        <p:spPr>
          <a:xfrm>
            <a:off x="7620000" y="2266602"/>
            <a:ext cx="796307" cy="1282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033"/>
              </a:lnSpc>
            </a:pP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МЛ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Н</a:t>
            </a: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.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 </a:t>
            </a: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РУБ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.</a:t>
            </a:r>
            <a:endParaRPr lang="en-US" sz="95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30" name="TextBox 30"/>
          <p:cNvSpPr txBox="1"/>
          <p:nvPr/>
        </p:nvSpPr>
        <p:spPr>
          <a:xfrm>
            <a:off x="9850379" y="4386938"/>
            <a:ext cx="743819" cy="1282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033"/>
              </a:lnSpc>
            </a:pP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М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ЛН</a:t>
            </a: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.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 </a:t>
            </a: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РУБ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.</a:t>
            </a:r>
            <a:endParaRPr lang="en-US" sz="95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31" name="TextBox 31"/>
          <p:cNvSpPr txBox="1"/>
          <p:nvPr/>
        </p:nvSpPr>
        <p:spPr>
          <a:xfrm>
            <a:off x="7968262" y="7274559"/>
            <a:ext cx="715826" cy="1282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033"/>
              </a:lnSpc>
            </a:pP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МЛ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Н</a:t>
            </a: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.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 </a:t>
            </a: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РУБ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.</a:t>
            </a:r>
            <a:endParaRPr lang="en-US" sz="95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32" name="TextBox 32"/>
          <p:cNvSpPr txBox="1"/>
          <p:nvPr/>
        </p:nvSpPr>
        <p:spPr>
          <a:xfrm>
            <a:off x="10031520" y="9384783"/>
            <a:ext cx="795662" cy="1282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033"/>
              </a:lnSpc>
            </a:pP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МЛ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Н</a:t>
            </a: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.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 </a:t>
            </a: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РУБ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.</a:t>
            </a:r>
            <a:endParaRPr lang="en-US" sz="95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33" name="TextBox 33"/>
          <p:cNvSpPr txBox="1"/>
          <p:nvPr/>
        </p:nvSpPr>
        <p:spPr>
          <a:xfrm>
            <a:off x="12801600" y="9384783"/>
            <a:ext cx="795662" cy="1282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033"/>
              </a:lnSpc>
            </a:pP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МЛ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Н</a:t>
            </a: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.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 </a:t>
            </a: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РУБ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.</a:t>
            </a:r>
            <a:endParaRPr lang="en-US" sz="95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34" name="TextBox 34"/>
          <p:cNvSpPr txBox="1"/>
          <p:nvPr/>
        </p:nvSpPr>
        <p:spPr>
          <a:xfrm>
            <a:off x="15008233" y="7274559"/>
            <a:ext cx="765167" cy="1282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033"/>
              </a:lnSpc>
            </a:pP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МЛ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Н</a:t>
            </a: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.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 </a:t>
            </a: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РУБ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.</a:t>
            </a:r>
            <a:endParaRPr lang="en-US" sz="95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35" name="TextBox 35"/>
          <p:cNvSpPr txBox="1"/>
          <p:nvPr/>
        </p:nvSpPr>
        <p:spPr>
          <a:xfrm>
            <a:off x="15008233" y="4386938"/>
            <a:ext cx="765167" cy="1282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033"/>
              </a:lnSpc>
            </a:pP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МЛ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Н</a:t>
            </a: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.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 </a:t>
            </a:r>
            <a:r>
              <a:rPr lang="en-US" sz="957" dirty="0" smtClean="0">
                <a:solidFill>
                  <a:srgbClr val="004AAD"/>
                </a:solidFill>
                <a:latin typeface="Montserrat Extra-Bold"/>
              </a:rPr>
              <a:t>РУБ</a:t>
            </a:r>
            <a:r>
              <a:rPr lang="ru-RU" sz="957" dirty="0" smtClean="0">
                <a:solidFill>
                  <a:srgbClr val="004AAD"/>
                </a:solidFill>
                <a:latin typeface="Montserrat Extra-Bold"/>
              </a:rPr>
              <a:t>.</a:t>
            </a:r>
            <a:endParaRPr lang="en-US" sz="957" dirty="0">
              <a:solidFill>
                <a:srgbClr val="004AAD"/>
              </a:solidFill>
              <a:latin typeface="Montserrat Extra-Bold"/>
            </a:endParaRPr>
          </a:p>
        </p:txBody>
      </p:sp>
      <p:grpSp>
        <p:nvGrpSpPr>
          <p:cNvPr id="36" name="Group 36"/>
          <p:cNvGrpSpPr>
            <a:grpSpLocks noChangeAspect="1"/>
          </p:cNvGrpSpPr>
          <p:nvPr/>
        </p:nvGrpSpPr>
        <p:grpSpPr>
          <a:xfrm>
            <a:off x="16533713" y="9172475"/>
            <a:ext cx="3927674" cy="3927674"/>
            <a:chOff x="0" y="0"/>
            <a:chExt cx="6355080" cy="6355080"/>
          </a:xfrm>
        </p:grpSpPr>
        <p:sp>
          <p:nvSpPr>
            <p:cNvPr id="37" name="Freeform 37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38" name="Group 38"/>
          <p:cNvGrpSpPr/>
          <p:nvPr/>
        </p:nvGrpSpPr>
        <p:grpSpPr>
          <a:xfrm>
            <a:off x="561601" y="39561"/>
            <a:ext cx="504017" cy="557766"/>
            <a:chOff x="0" y="0"/>
            <a:chExt cx="672023" cy="743688"/>
          </a:xfrm>
        </p:grpSpPr>
        <p:grpSp>
          <p:nvGrpSpPr>
            <p:cNvPr id="39" name="Group 39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40" name="Freeform 40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41" name="Group 41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42" name="Freeform 42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43" name="Group 43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44" name="Freeform 44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45" name="Group 45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46" name="Freeform 46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47" name="Group 47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48" name="Freeform 48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49" name="Group 49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50" name="Freeform 50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51" name="Group 51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52" name="Freeform 52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53" name="Group 53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54" name="Freeform 54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55" name="Group 55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56" name="Freeform 56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sp>
        <p:nvSpPr>
          <p:cNvPr id="57" name="TextBox 40"/>
          <p:cNvSpPr txBox="1"/>
          <p:nvPr/>
        </p:nvSpPr>
        <p:spPr>
          <a:xfrm>
            <a:off x="9685579" y="1579928"/>
            <a:ext cx="6104364" cy="12054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748"/>
              </a:lnSpc>
              <a:spcBef>
                <a:spcPct val="0"/>
              </a:spcBef>
            </a:pPr>
            <a:r>
              <a:rPr lang="ru-RU" sz="3391" dirty="0" smtClean="0">
                <a:solidFill>
                  <a:srgbClr val="13538A"/>
                </a:solidFill>
                <a:latin typeface="Montserrat Extra-Bold"/>
              </a:rPr>
              <a:t>ОБЩИЙ ОБЪЕМ СРЕДСТВ </a:t>
            </a:r>
          </a:p>
          <a:p>
            <a:pPr algn="ctr">
              <a:lnSpc>
                <a:spcPts val="4748"/>
              </a:lnSpc>
              <a:spcBef>
                <a:spcPct val="0"/>
              </a:spcBef>
            </a:pPr>
            <a:r>
              <a:rPr lang="ru-RU" sz="3391" dirty="0" smtClean="0">
                <a:solidFill>
                  <a:schemeClr val="accent4">
                    <a:lumMod val="75000"/>
                  </a:schemeClr>
                </a:solidFill>
                <a:latin typeface="Montserrat Extra-Bold"/>
              </a:rPr>
              <a:t>3</a:t>
            </a:r>
            <a:r>
              <a:rPr lang="en-US" sz="3391" dirty="0" smtClean="0">
                <a:solidFill>
                  <a:schemeClr val="accent4">
                    <a:lumMod val="75000"/>
                  </a:schemeClr>
                </a:solidFill>
                <a:latin typeface="Montserrat Extra-Bold"/>
              </a:rPr>
              <a:t>. </a:t>
            </a:r>
            <a:r>
              <a:rPr lang="ru-RU" sz="3391" dirty="0" smtClean="0">
                <a:solidFill>
                  <a:schemeClr val="accent4">
                    <a:lumMod val="75000"/>
                  </a:schemeClr>
                </a:solidFill>
                <a:latin typeface="Montserrat Extra-Bold"/>
              </a:rPr>
              <a:t>340 МЛРД</a:t>
            </a:r>
            <a:r>
              <a:rPr lang="en-US" sz="3391" dirty="0" smtClean="0">
                <a:solidFill>
                  <a:schemeClr val="accent4">
                    <a:lumMod val="75000"/>
                  </a:schemeClr>
                </a:solidFill>
                <a:latin typeface="Montserrat Extra-Bold"/>
              </a:rPr>
              <a:t>.</a:t>
            </a:r>
            <a:r>
              <a:rPr lang="ru-RU" sz="3391" dirty="0" smtClean="0">
                <a:solidFill>
                  <a:schemeClr val="accent4">
                    <a:lumMod val="75000"/>
                  </a:schemeClr>
                </a:solidFill>
                <a:latin typeface="Montserrat Extra-Bold"/>
              </a:rPr>
              <a:t> РУБ.</a:t>
            </a:r>
            <a:endParaRPr lang="en-US" sz="3391" dirty="0">
              <a:solidFill>
                <a:schemeClr val="accent4">
                  <a:lumMod val="75000"/>
                </a:schemeClr>
              </a:solidFill>
              <a:latin typeface="Montserrat Extra-Bold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913544" y="103055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533713" y="91724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561601" y="39561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pic>
        <p:nvPicPr>
          <p:cNvPr id="24" name="Picture 24"/>
          <p:cNvPicPr>
            <a:picLocks noChangeAspect="1"/>
          </p:cNvPicPr>
          <p:nvPr/>
        </p:nvPicPr>
        <p:blipFill>
          <a:blip r:embed="rId3"/>
          <a:srcRect r="12879"/>
          <a:stretch>
            <a:fillRect/>
          </a:stretch>
        </p:blipFill>
        <p:spPr>
          <a:xfrm>
            <a:off x="813609" y="1028700"/>
            <a:ext cx="4519822" cy="238972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5" name="Picture 25"/>
          <p:cNvPicPr>
            <a:picLocks noChangeAspect="1"/>
          </p:cNvPicPr>
          <p:nvPr/>
        </p:nvPicPr>
        <p:blipFill>
          <a:blip r:embed="rId4"/>
          <a:srcRect t="31533" b="4883"/>
          <a:stretch>
            <a:fillRect/>
          </a:stretch>
        </p:blipFill>
        <p:spPr>
          <a:xfrm>
            <a:off x="3560826" y="2385881"/>
            <a:ext cx="3545209" cy="400737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6" name="TextBox 26"/>
          <p:cNvSpPr txBox="1"/>
          <p:nvPr/>
        </p:nvSpPr>
        <p:spPr>
          <a:xfrm>
            <a:off x="5610584" y="36380"/>
            <a:ext cx="8105416" cy="5961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863"/>
              </a:lnSpc>
              <a:spcBef>
                <a:spcPct val="0"/>
              </a:spcBef>
            </a:pPr>
            <a:r>
              <a:rPr lang="en-US" sz="3474" dirty="0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7548544" y="1705000"/>
            <a:ext cx="7085432" cy="18311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863"/>
              </a:lnSpc>
            </a:pPr>
            <a:r>
              <a:rPr lang="en-US" sz="3474" dirty="0">
                <a:solidFill>
                  <a:srgbClr val="0FB293"/>
                </a:solidFill>
                <a:latin typeface="Montserrat Extra-Bold"/>
              </a:rPr>
              <a:t>НА УСТРОЙСТВО ПАНДУСОВ</a:t>
            </a:r>
          </a:p>
          <a:p>
            <a:pPr algn="ctr">
              <a:lnSpc>
                <a:spcPts val="4863"/>
              </a:lnSpc>
            </a:pPr>
            <a:r>
              <a:rPr lang="en-US" sz="3474" dirty="0">
                <a:solidFill>
                  <a:srgbClr val="0FB293"/>
                </a:solidFill>
                <a:latin typeface="Montserrat Extra-Bold"/>
              </a:rPr>
              <a:t>В 19 САДАХ И 8 ШКОЛАХ</a:t>
            </a:r>
          </a:p>
          <a:p>
            <a:pPr algn="ctr">
              <a:lnSpc>
                <a:spcPts val="4863"/>
              </a:lnSpc>
              <a:spcBef>
                <a:spcPct val="0"/>
              </a:spcBef>
            </a:pPr>
            <a:r>
              <a:rPr lang="en-US" sz="3474" dirty="0">
                <a:solidFill>
                  <a:srgbClr val="0FB293"/>
                </a:solidFill>
                <a:latin typeface="Montserrat Extra-Bold"/>
              </a:rPr>
              <a:t>6,1 МЛН. РУБ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913544" y="103055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533713" y="91724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561601" y="39561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pic>
        <p:nvPicPr>
          <p:cNvPr id="24" name="Picture 24"/>
          <p:cNvPicPr>
            <a:picLocks noChangeAspect="1"/>
          </p:cNvPicPr>
          <p:nvPr/>
        </p:nvPicPr>
        <p:blipFill>
          <a:blip r:embed="rId3"/>
          <a:srcRect r="12879"/>
          <a:stretch>
            <a:fillRect/>
          </a:stretch>
        </p:blipFill>
        <p:spPr>
          <a:xfrm>
            <a:off x="813609" y="1028700"/>
            <a:ext cx="4519822" cy="238972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5" name="Picture 25"/>
          <p:cNvPicPr>
            <a:picLocks noChangeAspect="1"/>
          </p:cNvPicPr>
          <p:nvPr/>
        </p:nvPicPr>
        <p:blipFill>
          <a:blip r:embed="rId4"/>
          <a:srcRect t="31533" b="4883"/>
          <a:stretch>
            <a:fillRect/>
          </a:stretch>
        </p:blipFill>
        <p:spPr>
          <a:xfrm>
            <a:off x="3560826" y="2385881"/>
            <a:ext cx="3545209" cy="400737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" name="Picture 26"/>
          <p:cNvPicPr>
            <a:picLocks noChangeAspect="1"/>
          </p:cNvPicPr>
          <p:nvPr/>
        </p:nvPicPr>
        <p:blipFill>
          <a:blip r:embed="rId5"/>
          <a:srcRect t="20908"/>
          <a:stretch>
            <a:fillRect/>
          </a:stretch>
        </p:blipFill>
        <p:spPr>
          <a:xfrm>
            <a:off x="10760610" y="6401701"/>
            <a:ext cx="5997235" cy="316221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7" name="Picture 27"/>
          <p:cNvPicPr>
            <a:picLocks noChangeAspect="1"/>
          </p:cNvPicPr>
          <p:nvPr/>
        </p:nvPicPr>
        <p:blipFill>
          <a:blip r:embed="rId6"/>
          <a:srcRect r="22006"/>
          <a:stretch>
            <a:fillRect/>
          </a:stretch>
        </p:blipFill>
        <p:spPr>
          <a:xfrm>
            <a:off x="13953741" y="4253001"/>
            <a:ext cx="3305559" cy="282274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8" name="TextBox 28"/>
          <p:cNvSpPr txBox="1"/>
          <p:nvPr/>
        </p:nvSpPr>
        <p:spPr>
          <a:xfrm>
            <a:off x="5610584" y="36380"/>
            <a:ext cx="7267216" cy="5961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863"/>
              </a:lnSpc>
              <a:spcBef>
                <a:spcPct val="0"/>
              </a:spcBef>
            </a:pPr>
            <a:r>
              <a:rPr lang="en-US" sz="3474" dirty="0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29" name="TextBox 29"/>
          <p:cNvSpPr txBox="1"/>
          <p:nvPr/>
        </p:nvSpPr>
        <p:spPr>
          <a:xfrm>
            <a:off x="7548544" y="1705000"/>
            <a:ext cx="7085432" cy="18311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863"/>
              </a:lnSpc>
            </a:pPr>
            <a:r>
              <a:rPr lang="en-US" sz="3474" dirty="0">
                <a:solidFill>
                  <a:srgbClr val="0FB293"/>
                </a:solidFill>
                <a:latin typeface="Montserrat Extra-Bold"/>
              </a:rPr>
              <a:t>НА УСТРОЙСТВО ПАНДУСОВ</a:t>
            </a:r>
          </a:p>
          <a:p>
            <a:pPr algn="ctr">
              <a:lnSpc>
                <a:spcPts val="4863"/>
              </a:lnSpc>
            </a:pPr>
            <a:r>
              <a:rPr lang="en-US" sz="3474" dirty="0">
                <a:solidFill>
                  <a:srgbClr val="0FB293"/>
                </a:solidFill>
                <a:latin typeface="Montserrat Extra-Bold"/>
              </a:rPr>
              <a:t>В 19 САДАХ И 8 ШКОЛАХ</a:t>
            </a:r>
          </a:p>
          <a:p>
            <a:pPr algn="ctr">
              <a:lnSpc>
                <a:spcPts val="4863"/>
              </a:lnSpc>
              <a:spcBef>
                <a:spcPct val="0"/>
              </a:spcBef>
            </a:pPr>
            <a:r>
              <a:rPr lang="en-US" sz="3474" dirty="0">
                <a:solidFill>
                  <a:srgbClr val="0FB293"/>
                </a:solidFill>
                <a:latin typeface="Montserrat Extra-Bold"/>
              </a:rPr>
              <a:t>6,1 МЛН. РУБ.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3320197" y="7341299"/>
            <a:ext cx="6781492" cy="18311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863"/>
              </a:lnSpc>
            </a:pPr>
            <a:r>
              <a:rPr lang="en-US" sz="3474" dirty="0">
                <a:solidFill>
                  <a:srgbClr val="0FB293"/>
                </a:solidFill>
                <a:latin typeface="Montserrat Extra-Bold"/>
              </a:rPr>
              <a:t>НА УСТРОЙСТВО ВЕРАНД</a:t>
            </a:r>
          </a:p>
          <a:p>
            <a:pPr algn="ctr">
              <a:lnSpc>
                <a:spcPts val="4863"/>
              </a:lnSpc>
            </a:pPr>
            <a:r>
              <a:rPr lang="en-US" sz="3474" dirty="0">
                <a:solidFill>
                  <a:srgbClr val="0FB293"/>
                </a:solidFill>
                <a:latin typeface="Montserrat Extra-Bold"/>
              </a:rPr>
              <a:t>С НАЗЕМНЫМ ПОКРЫТИЕМ</a:t>
            </a:r>
          </a:p>
          <a:p>
            <a:pPr algn="ctr">
              <a:lnSpc>
                <a:spcPts val="4863"/>
              </a:lnSpc>
              <a:spcBef>
                <a:spcPct val="0"/>
              </a:spcBef>
            </a:pPr>
            <a:r>
              <a:rPr lang="en-US" sz="3474" dirty="0">
                <a:solidFill>
                  <a:srgbClr val="0FB293"/>
                </a:solidFill>
                <a:latin typeface="Montserrat Extra-Bold"/>
              </a:rPr>
              <a:t>3,1 МЛН. РУБ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913544" y="103055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533713" y="91724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561601" y="39561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pic>
        <p:nvPicPr>
          <p:cNvPr id="24" name="Picture 2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028700" y="1238928"/>
            <a:ext cx="7153609" cy="402390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5" name="Picture 25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9856290" y="5434231"/>
            <a:ext cx="7129675" cy="40104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6" name="TextBox 26"/>
          <p:cNvSpPr txBox="1"/>
          <p:nvPr/>
        </p:nvSpPr>
        <p:spPr>
          <a:xfrm>
            <a:off x="5610583" y="36380"/>
            <a:ext cx="7153609" cy="5961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863"/>
              </a:lnSpc>
              <a:spcBef>
                <a:spcPct val="0"/>
              </a:spcBef>
            </a:pPr>
            <a:r>
              <a:rPr lang="en-US" sz="3474" dirty="0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8671586" y="2118055"/>
            <a:ext cx="8587714" cy="24487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863"/>
              </a:lnSpc>
            </a:pPr>
            <a:r>
              <a:rPr lang="en-US" sz="3474" dirty="0">
                <a:solidFill>
                  <a:srgbClr val="0FB293"/>
                </a:solidFill>
                <a:latin typeface="Montserrat Extra-Bold"/>
              </a:rPr>
              <a:t>НА ОРГАНИЗАЦИЮ БЕСПЛАТНОГО</a:t>
            </a:r>
          </a:p>
          <a:p>
            <a:pPr algn="ctr">
              <a:lnSpc>
                <a:spcPts val="4863"/>
              </a:lnSpc>
            </a:pPr>
            <a:r>
              <a:rPr lang="en-US" sz="3474" dirty="0">
                <a:solidFill>
                  <a:srgbClr val="0FB293"/>
                </a:solidFill>
                <a:latin typeface="Montserrat Extra-Bold"/>
              </a:rPr>
              <a:t>ГОРЯЧЕГО ПИТАНИЯ</a:t>
            </a:r>
          </a:p>
          <a:p>
            <a:pPr algn="ctr">
              <a:lnSpc>
                <a:spcPts val="4863"/>
              </a:lnSpc>
            </a:pPr>
            <a:r>
              <a:rPr lang="en-US" sz="3474" dirty="0">
                <a:solidFill>
                  <a:srgbClr val="0FB293"/>
                </a:solidFill>
                <a:latin typeface="Montserrat Extra-Bold"/>
              </a:rPr>
              <a:t>ОБУЧАЮЩИХСЯ 1-4 КЛАССОВ</a:t>
            </a:r>
          </a:p>
          <a:p>
            <a:pPr algn="ctr">
              <a:lnSpc>
                <a:spcPts val="4863"/>
              </a:lnSpc>
              <a:spcBef>
                <a:spcPct val="0"/>
              </a:spcBef>
            </a:pPr>
            <a:r>
              <a:rPr lang="en-US" sz="3474" dirty="0">
                <a:solidFill>
                  <a:srgbClr val="0FB293"/>
                </a:solidFill>
                <a:latin typeface="Montserrat Extra-Bold"/>
              </a:rPr>
              <a:t>62 МЛН. РУБ.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1232622" y="5896141"/>
            <a:ext cx="8237730" cy="32763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315"/>
              </a:lnSpc>
            </a:pPr>
            <a:r>
              <a:rPr lang="en-US" sz="3082" dirty="0">
                <a:solidFill>
                  <a:srgbClr val="0FB293"/>
                </a:solidFill>
                <a:latin typeface="Montserrat Extra-Bold"/>
              </a:rPr>
              <a:t>НА ОРГАНИЗАЦИЮ БЕСПЛАТНОГО</a:t>
            </a:r>
          </a:p>
          <a:p>
            <a:pPr algn="ctr">
              <a:lnSpc>
                <a:spcPts val="4315"/>
              </a:lnSpc>
            </a:pPr>
            <a:r>
              <a:rPr lang="en-US" sz="3082" dirty="0">
                <a:solidFill>
                  <a:srgbClr val="0FB293"/>
                </a:solidFill>
                <a:latin typeface="Montserrat Extra-Bold"/>
              </a:rPr>
              <a:t>ГОРЯЧЕГО ПИТАНИЯ</a:t>
            </a:r>
          </a:p>
          <a:p>
            <a:pPr algn="ctr">
              <a:lnSpc>
                <a:spcPts val="4315"/>
              </a:lnSpc>
            </a:pPr>
            <a:r>
              <a:rPr lang="en-US" sz="3082" dirty="0">
                <a:solidFill>
                  <a:srgbClr val="0FB293"/>
                </a:solidFill>
                <a:latin typeface="Montserrat Extra-Bold"/>
              </a:rPr>
              <a:t>ДЕТЕЙ ИНВАЛИДОВ,</a:t>
            </a:r>
          </a:p>
          <a:p>
            <a:pPr algn="ctr">
              <a:lnSpc>
                <a:spcPts val="4315"/>
              </a:lnSpc>
            </a:pPr>
            <a:r>
              <a:rPr lang="en-US" sz="3082" dirty="0">
                <a:solidFill>
                  <a:srgbClr val="0FB293"/>
                </a:solidFill>
                <a:latin typeface="Montserrat Extra-Bold"/>
              </a:rPr>
              <a:t>ДЕТЕЙ С ОГРАНИЧЕННЫМИ ВОЗМОЖНОСТЯМИ ЗДОРОВЬЯ</a:t>
            </a:r>
          </a:p>
          <a:p>
            <a:pPr algn="ctr">
              <a:lnSpc>
                <a:spcPts val="4315"/>
              </a:lnSpc>
              <a:spcBef>
                <a:spcPct val="0"/>
              </a:spcBef>
            </a:pPr>
            <a:r>
              <a:rPr lang="en-US" sz="3082" dirty="0">
                <a:solidFill>
                  <a:srgbClr val="0FB293"/>
                </a:solidFill>
                <a:latin typeface="Montserrat Extra-Bold"/>
              </a:rPr>
              <a:t>6 МЛН. РУБ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913544" y="103055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533713" y="91724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561601" y="39561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pic>
        <p:nvPicPr>
          <p:cNvPr id="24" name="Picture 24"/>
          <p:cNvPicPr>
            <a:picLocks noChangeAspect="1"/>
          </p:cNvPicPr>
          <p:nvPr/>
        </p:nvPicPr>
        <p:blipFill>
          <a:blip r:embed="rId3"/>
          <a:srcRect l="4979"/>
          <a:stretch>
            <a:fillRect/>
          </a:stretch>
        </p:blipFill>
        <p:spPr>
          <a:xfrm>
            <a:off x="875756" y="1132331"/>
            <a:ext cx="7506244" cy="448688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5" name="TextBox 25"/>
          <p:cNvSpPr txBox="1"/>
          <p:nvPr/>
        </p:nvSpPr>
        <p:spPr>
          <a:xfrm>
            <a:off x="5610584" y="36380"/>
            <a:ext cx="7191016" cy="5961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863"/>
              </a:lnSpc>
              <a:spcBef>
                <a:spcPct val="0"/>
              </a:spcBef>
            </a:pPr>
            <a:r>
              <a:rPr lang="en-US" sz="3474" dirty="0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9470352" y="1730002"/>
            <a:ext cx="7788948" cy="29590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886"/>
              </a:lnSpc>
            </a:pPr>
            <a:r>
              <a:rPr lang="en-US" sz="4204" dirty="0">
                <a:solidFill>
                  <a:srgbClr val="0FB293"/>
                </a:solidFill>
                <a:latin typeface="Montserrat Extra-Bold"/>
              </a:rPr>
              <a:t>ПРИОБРЕТЕНИЕ</a:t>
            </a:r>
          </a:p>
          <a:p>
            <a:pPr algn="ctr">
              <a:lnSpc>
                <a:spcPts val="5886"/>
              </a:lnSpc>
            </a:pPr>
            <a:r>
              <a:rPr lang="en-US" sz="4204" dirty="0">
                <a:solidFill>
                  <a:srgbClr val="0FB293"/>
                </a:solidFill>
                <a:latin typeface="Montserrat Extra-Bold"/>
              </a:rPr>
              <a:t>НОВОГОДНИХ ПОДАРКОВ</a:t>
            </a:r>
          </a:p>
          <a:p>
            <a:pPr algn="ctr">
              <a:lnSpc>
                <a:spcPts val="5886"/>
              </a:lnSpc>
            </a:pPr>
            <a:r>
              <a:rPr lang="en-US" sz="4204" dirty="0">
                <a:solidFill>
                  <a:srgbClr val="0FB293"/>
                </a:solidFill>
                <a:latin typeface="Montserrat Extra-Bold"/>
              </a:rPr>
              <a:t>ДЛЯ ДЕТЕЙ</a:t>
            </a:r>
          </a:p>
          <a:p>
            <a:pPr algn="ctr">
              <a:lnSpc>
                <a:spcPts val="5886"/>
              </a:lnSpc>
              <a:spcBef>
                <a:spcPct val="0"/>
              </a:spcBef>
            </a:pPr>
            <a:r>
              <a:rPr lang="en-US" sz="4204" dirty="0">
                <a:solidFill>
                  <a:srgbClr val="0FB293"/>
                </a:solidFill>
                <a:latin typeface="Montserrat Extra-Bold"/>
              </a:rPr>
              <a:t>2,7 МЛН. РУБ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913544" y="103055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533713" y="91724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561601" y="39561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pic>
        <p:nvPicPr>
          <p:cNvPr id="24" name="Picture 24"/>
          <p:cNvPicPr>
            <a:picLocks noChangeAspect="1"/>
          </p:cNvPicPr>
          <p:nvPr/>
        </p:nvPicPr>
        <p:blipFill>
          <a:blip r:embed="rId3"/>
          <a:srcRect l="4979"/>
          <a:stretch>
            <a:fillRect/>
          </a:stretch>
        </p:blipFill>
        <p:spPr>
          <a:xfrm>
            <a:off x="813609" y="1132331"/>
            <a:ext cx="7506244" cy="448688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5" name="Picture 25"/>
          <p:cNvPicPr>
            <a:picLocks noChangeAspect="1"/>
          </p:cNvPicPr>
          <p:nvPr/>
        </p:nvPicPr>
        <p:blipFill>
          <a:blip r:embed="rId4"/>
          <a:srcRect t="12112"/>
          <a:stretch>
            <a:fillRect/>
          </a:stretch>
        </p:blipFill>
        <p:spPr>
          <a:xfrm>
            <a:off x="8929178" y="5815725"/>
            <a:ext cx="8871297" cy="42102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6" name="TextBox 26"/>
          <p:cNvSpPr txBox="1"/>
          <p:nvPr/>
        </p:nvSpPr>
        <p:spPr>
          <a:xfrm>
            <a:off x="5610584" y="36380"/>
            <a:ext cx="7191016" cy="5961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863"/>
              </a:lnSpc>
              <a:spcBef>
                <a:spcPct val="0"/>
              </a:spcBef>
            </a:pPr>
            <a:r>
              <a:rPr lang="en-US" sz="3474" dirty="0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9470352" y="1730002"/>
            <a:ext cx="7788948" cy="29590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886"/>
              </a:lnSpc>
            </a:pPr>
            <a:r>
              <a:rPr lang="en-US" sz="4204" dirty="0">
                <a:solidFill>
                  <a:srgbClr val="0FB293"/>
                </a:solidFill>
                <a:latin typeface="Montserrat Extra-Bold"/>
              </a:rPr>
              <a:t>ПРИОБРЕТЕНИЕ</a:t>
            </a:r>
          </a:p>
          <a:p>
            <a:pPr algn="ctr">
              <a:lnSpc>
                <a:spcPts val="5886"/>
              </a:lnSpc>
            </a:pPr>
            <a:r>
              <a:rPr lang="en-US" sz="4204" dirty="0">
                <a:solidFill>
                  <a:srgbClr val="0FB293"/>
                </a:solidFill>
                <a:latin typeface="Montserrat Extra-Bold"/>
              </a:rPr>
              <a:t>НОВОГОДНИХ ПОДАРКОВ</a:t>
            </a:r>
          </a:p>
          <a:p>
            <a:pPr algn="ctr">
              <a:lnSpc>
                <a:spcPts val="5886"/>
              </a:lnSpc>
            </a:pPr>
            <a:r>
              <a:rPr lang="en-US" sz="4204" dirty="0">
                <a:solidFill>
                  <a:srgbClr val="0FB293"/>
                </a:solidFill>
                <a:latin typeface="Montserrat Extra-Bold"/>
              </a:rPr>
              <a:t>ДЛЯ ДЕТЕЙ</a:t>
            </a:r>
          </a:p>
          <a:p>
            <a:pPr algn="ctr">
              <a:lnSpc>
                <a:spcPts val="5886"/>
              </a:lnSpc>
              <a:spcBef>
                <a:spcPct val="0"/>
              </a:spcBef>
            </a:pPr>
            <a:r>
              <a:rPr lang="en-US" sz="4204" dirty="0">
                <a:solidFill>
                  <a:srgbClr val="0FB293"/>
                </a:solidFill>
                <a:latin typeface="Montserrat Extra-Bold"/>
              </a:rPr>
              <a:t>2,7 МЛН. РУБ.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950023" y="5971054"/>
            <a:ext cx="7683017" cy="17502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95"/>
              </a:lnSpc>
            </a:pPr>
            <a:r>
              <a:rPr lang="en-US" sz="2497" dirty="0">
                <a:solidFill>
                  <a:srgbClr val="0FB293"/>
                </a:solidFill>
                <a:latin typeface="Montserrat Extra-Bold"/>
              </a:rPr>
              <a:t>ОБЕСПЕЧЕНИЕ ОТДЫХА</a:t>
            </a:r>
          </a:p>
          <a:p>
            <a:pPr algn="ctr">
              <a:lnSpc>
                <a:spcPts val="3495"/>
              </a:lnSpc>
            </a:pPr>
            <a:r>
              <a:rPr lang="en-US" sz="2497" dirty="0">
                <a:solidFill>
                  <a:srgbClr val="0FB293"/>
                </a:solidFill>
                <a:latin typeface="Montserrat Extra-Bold"/>
              </a:rPr>
              <a:t>И ОЗДОРОВЛЕНИЯ ДЕТЕЙ</a:t>
            </a:r>
          </a:p>
          <a:p>
            <a:pPr algn="ctr">
              <a:lnSpc>
                <a:spcPts val="3495"/>
              </a:lnSpc>
            </a:pPr>
            <a:r>
              <a:rPr lang="en-US" sz="2497" dirty="0">
                <a:solidFill>
                  <a:srgbClr val="0FB293"/>
                </a:solidFill>
                <a:latin typeface="Montserrat Extra-Bold"/>
              </a:rPr>
              <a:t>ЗА СЧЕТ СРЕДСТВ КРАЕВОГО БЮДЖЕТА</a:t>
            </a:r>
          </a:p>
          <a:p>
            <a:pPr algn="ctr">
              <a:lnSpc>
                <a:spcPts val="3495"/>
              </a:lnSpc>
              <a:spcBef>
                <a:spcPct val="0"/>
              </a:spcBef>
            </a:pPr>
            <a:r>
              <a:rPr lang="en-US" sz="2497" dirty="0">
                <a:solidFill>
                  <a:srgbClr val="0FB293"/>
                </a:solidFill>
                <a:latin typeface="Montserrat Extra-Bold"/>
              </a:rPr>
              <a:t>7,5 МЛН. РУБ. </a:t>
            </a:r>
          </a:p>
        </p:txBody>
      </p:sp>
      <p:sp>
        <p:nvSpPr>
          <p:cNvPr id="29" name="TextBox 29"/>
          <p:cNvSpPr txBox="1"/>
          <p:nvPr/>
        </p:nvSpPr>
        <p:spPr>
          <a:xfrm>
            <a:off x="1220876" y="7873228"/>
            <a:ext cx="7141311" cy="218600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67"/>
              </a:lnSpc>
            </a:pPr>
            <a:r>
              <a:rPr lang="en-US" sz="2476" dirty="0">
                <a:solidFill>
                  <a:srgbClr val="0FB293"/>
                </a:solidFill>
                <a:latin typeface="Montserrat Extra-Bold"/>
              </a:rPr>
              <a:t>ОРГАНИЗАЦИЯ И ПРОВЕДЕНИЕ КАНИКУЛЯРНОГО ОТДЫХА И ОЗДОРОВЛЕНИЯ ДЕТЕЙ</a:t>
            </a:r>
          </a:p>
          <a:p>
            <a:pPr algn="ctr">
              <a:lnSpc>
                <a:spcPts val="3467"/>
              </a:lnSpc>
            </a:pPr>
            <a:r>
              <a:rPr lang="en-US" sz="2476" dirty="0">
                <a:solidFill>
                  <a:srgbClr val="0FB293"/>
                </a:solidFill>
                <a:latin typeface="Montserrat Extra-Bold"/>
              </a:rPr>
              <a:t>ЗА СЧЕТ СРЕДСТВ БЮДЖЕТА ГОРОДА</a:t>
            </a:r>
          </a:p>
          <a:p>
            <a:pPr algn="ctr">
              <a:lnSpc>
                <a:spcPts val="3467"/>
              </a:lnSpc>
              <a:spcBef>
                <a:spcPct val="0"/>
              </a:spcBef>
            </a:pPr>
            <a:r>
              <a:rPr lang="en-US" sz="2476" dirty="0">
                <a:solidFill>
                  <a:srgbClr val="0FB293"/>
                </a:solidFill>
                <a:latin typeface="Montserrat Extra-Bold"/>
              </a:rPr>
              <a:t>1 МЛН. РУБ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913544" y="103055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533713" y="91724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561601" y="39561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pic>
        <p:nvPicPr>
          <p:cNvPr id="24" name="Picture 2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9418573" y="874254"/>
            <a:ext cx="4158589" cy="27502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5" name="Picture 25"/>
          <p:cNvPicPr>
            <a:picLocks noChangeAspect="1"/>
          </p:cNvPicPr>
          <p:nvPr/>
        </p:nvPicPr>
        <p:blipFill>
          <a:blip r:embed="rId4"/>
          <a:srcRect r="28522"/>
          <a:stretch>
            <a:fillRect/>
          </a:stretch>
        </p:blipFill>
        <p:spPr>
          <a:xfrm>
            <a:off x="11851306" y="2489617"/>
            <a:ext cx="4319037" cy="33989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6" name="TextBox 26"/>
          <p:cNvSpPr txBox="1"/>
          <p:nvPr/>
        </p:nvSpPr>
        <p:spPr>
          <a:xfrm>
            <a:off x="5610584" y="36380"/>
            <a:ext cx="7191016" cy="5961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863"/>
              </a:lnSpc>
              <a:spcBef>
                <a:spcPct val="0"/>
              </a:spcBef>
            </a:pPr>
            <a:r>
              <a:rPr lang="en-US" sz="3474" dirty="0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561601" y="1542834"/>
            <a:ext cx="8386285" cy="253805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ПРОВЕДЕНИЕ РАБОТ</a:t>
            </a:r>
          </a:p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ПО АНТИТЕРРОРИСТИЧЕСКИМ</a:t>
            </a:r>
          </a:p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МЕРОПРИЯТИЯМ</a:t>
            </a:r>
          </a:p>
          <a:p>
            <a:pPr algn="ctr">
              <a:lnSpc>
                <a:spcPts val="5046"/>
              </a:lnSpc>
              <a:spcBef>
                <a:spcPct val="0"/>
              </a:spcBef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9,7 МЛН. РУБ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913544" y="103055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533713" y="91724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561601" y="39561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pic>
        <p:nvPicPr>
          <p:cNvPr id="24" name="Picture 2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9418573" y="874254"/>
            <a:ext cx="4158589" cy="27502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5" name="Picture 25"/>
          <p:cNvPicPr>
            <a:picLocks noChangeAspect="1"/>
          </p:cNvPicPr>
          <p:nvPr/>
        </p:nvPicPr>
        <p:blipFill>
          <a:blip r:embed="rId4"/>
          <a:srcRect r="28522"/>
          <a:stretch>
            <a:fillRect/>
          </a:stretch>
        </p:blipFill>
        <p:spPr>
          <a:xfrm>
            <a:off x="11851306" y="2489617"/>
            <a:ext cx="4319037" cy="33989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" name="Picture 26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650630" y="4534736"/>
            <a:ext cx="5524910" cy="374268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7" name="Picture 27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4579916" y="6857484"/>
            <a:ext cx="4453634" cy="29690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8" name="TextBox 28"/>
          <p:cNvSpPr txBox="1"/>
          <p:nvPr/>
        </p:nvSpPr>
        <p:spPr>
          <a:xfrm>
            <a:off x="5610584" y="36380"/>
            <a:ext cx="7191016" cy="5961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863"/>
              </a:lnSpc>
              <a:spcBef>
                <a:spcPct val="0"/>
              </a:spcBef>
            </a:pPr>
            <a:r>
              <a:rPr lang="en-US" sz="3474" dirty="0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29" name="TextBox 29"/>
          <p:cNvSpPr txBox="1"/>
          <p:nvPr/>
        </p:nvSpPr>
        <p:spPr>
          <a:xfrm>
            <a:off x="561601" y="1542834"/>
            <a:ext cx="8386285" cy="253805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ПРОВЕДЕНИЕ РАБОТ</a:t>
            </a:r>
          </a:p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ПО АНТИТЕРРОРИСТИЧЕСКИМ</a:t>
            </a:r>
          </a:p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МЕРОПРИЯТИЯМ</a:t>
            </a:r>
          </a:p>
          <a:p>
            <a:pPr algn="ctr">
              <a:lnSpc>
                <a:spcPts val="5046"/>
              </a:lnSpc>
              <a:spcBef>
                <a:spcPct val="0"/>
              </a:spcBef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9,7 МЛН. РУБ.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9644637" y="6420818"/>
            <a:ext cx="7865049" cy="31787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СУБСИДИЯ В ВИДЕ</a:t>
            </a:r>
          </a:p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ИМУЩЕСТВЕННОГО ВЗНОСА</a:t>
            </a:r>
          </a:p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В АНО ДО "ДЕТСКИЙ ТЕХНОПАРК КВАНТОРИУМ"</a:t>
            </a:r>
          </a:p>
          <a:p>
            <a:pPr algn="ctr">
              <a:lnSpc>
                <a:spcPts val="5046"/>
              </a:lnSpc>
              <a:spcBef>
                <a:spcPct val="0"/>
              </a:spcBef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3,6 МЛН. РУБ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C92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p:blipFill>
        <p:spPr>
          <a:xfrm rot="-3261929">
            <a:off x="9529097" y="-3897920"/>
            <a:ext cx="12406564" cy="12856543"/>
          </a:xfrm>
          <a:prstGeom prst="rect">
            <a:avLst/>
          </a:prstGeom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>
            <a:fillRect/>
          </a:stretch>
        </p:blipFill>
        <p:spPr>
          <a:xfrm rot="-3503445">
            <a:off x="16271422" y="-688600"/>
            <a:ext cx="2293248" cy="2376423"/>
          </a:xfrm>
          <a:prstGeom prst="rect">
            <a:avLst/>
          </a:prstGeom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>
            <a:fillRect/>
          </a:stretch>
        </p:blipFill>
        <p:spPr>
          <a:xfrm rot="8907459">
            <a:off x="-469322" y="7673063"/>
            <a:ext cx="2393626" cy="2480441"/>
          </a:xfrm>
          <a:prstGeom prst="rect">
            <a:avLst/>
          </a:prstGeom>
        </p:spPr>
      </p:pic>
      <p:grpSp>
        <p:nvGrpSpPr>
          <p:cNvPr id="5" name="Group 5"/>
          <p:cNvGrpSpPr/>
          <p:nvPr/>
        </p:nvGrpSpPr>
        <p:grpSpPr>
          <a:xfrm>
            <a:off x="2032962" y="9258300"/>
            <a:ext cx="1181100" cy="1181100"/>
            <a:chOff x="0" y="0"/>
            <a:chExt cx="6350000" cy="6350000"/>
          </a:xfrm>
        </p:grpSpPr>
        <p:sp>
          <p:nvSpPr>
            <p:cNvPr id="6" name="Freeform 6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grpSp>
        <p:nvGrpSpPr>
          <p:cNvPr id="7" name="Group 7"/>
          <p:cNvGrpSpPr/>
          <p:nvPr/>
        </p:nvGrpSpPr>
        <p:grpSpPr>
          <a:xfrm>
            <a:off x="17259300" y="2331504"/>
            <a:ext cx="571500" cy="571500"/>
            <a:chOff x="0" y="0"/>
            <a:chExt cx="6350000" cy="6350000"/>
          </a:xfrm>
        </p:grpSpPr>
        <p:sp>
          <p:nvSpPr>
            <p:cNvPr id="8" name="Freeform 8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grpSp>
        <p:nvGrpSpPr>
          <p:cNvPr id="9" name="Group 9"/>
          <p:cNvGrpSpPr/>
          <p:nvPr/>
        </p:nvGrpSpPr>
        <p:grpSpPr>
          <a:xfrm>
            <a:off x="1285675" y="3319892"/>
            <a:ext cx="15716650" cy="3647215"/>
            <a:chOff x="0" y="0"/>
            <a:chExt cx="20955533" cy="4862953"/>
          </a:xfrm>
        </p:grpSpPr>
        <p:sp>
          <p:nvSpPr>
            <p:cNvPr id="10" name="TextBox 10"/>
            <p:cNvSpPr txBox="1"/>
            <p:nvPr/>
          </p:nvSpPr>
          <p:spPr>
            <a:xfrm>
              <a:off x="0" y="114598"/>
              <a:ext cx="20955533" cy="393503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1100"/>
                </a:lnSpc>
              </a:pPr>
              <a:r>
                <a:rPr lang="en-US" sz="11100" spc="1110">
                  <a:solidFill>
                    <a:srgbClr val="FFFFFF"/>
                  </a:solidFill>
                  <a:latin typeface="Montserrat Semi-Bold Bold"/>
                </a:rPr>
                <a:t>НЕВИННОМЫССК</a:t>
              </a:r>
            </a:p>
            <a:p>
              <a:pPr algn="ctr">
                <a:lnSpc>
                  <a:spcPts val="11100"/>
                </a:lnSpc>
              </a:pPr>
              <a:r>
                <a:rPr lang="en-US" sz="11100" spc="1110">
                  <a:solidFill>
                    <a:srgbClr val="FFFFFF"/>
                  </a:solidFill>
                  <a:latin typeface="Montserrat Semi-Bold Bold"/>
                </a:rPr>
                <a:t>В ЦИФРАХ</a:t>
              </a:r>
            </a:p>
          </p:txBody>
        </p:sp>
        <p:sp>
          <p:nvSpPr>
            <p:cNvPr id="11" name="TextBox 11"/>
            <p:cNvSpPr txBox="1"/>
            <p:nvPr/>
          </p:nvSpPr>
          <p:spPr>
            <a:xfrm>
              <a:off x="0" y="4159941"/>
              <a:ext cx="20955533" cy="7071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4479"/>
                </a:lnSpc>
              </a:pPr>
              <a:endParaRPr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913544" y="103055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533713" y="91724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561601" y="39561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sp>
        <p:nvSpPr>
          <p:cNvPr id="26" name="TextBox 26"/>
          <p:cNvSpPr txBox="1"/>
          <p:nvPr/>
        </p:nvSpPr>
        <p:spPr>
          <a:xfrm>
            <a:off x="5610584" y="36380"/>
            <a:ext cx="7191016" cy="5961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863"/>
              </a:lnSpc>
              <a:spcBef>
                <a:spcPct val="0"/>
              </a:spcBef>
            </a:pPr>
            <a:r>
              <a:rPr lang="en-US" sz="3474" dirty="0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561601" y="1542834"/>
            <a:ext cx="8386285" cy="256480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КАПИТАЛЬНЫЙ РЕМОНТ</a:t>
            </a:r>
          </a:p>
          <a:p>
            <a:pPr algn="ctr">
              <a:lnSpc>
                <a:spcPts val="5046"/>
              </a:lnSpc>
            </a:pPr>
            <a:r>
              <a:rPr lang="ru-RU" sz="3604" dirty="0" smtClean="0">
                <a:solidFill>
                  <a:srgbClr val="0FB293"/>
                </a:solidFill>
                <a:latin typeface="Montserrat Extra-Bold"/>
              </a:rPr>
              <a:t>В 2022 ГОДУ</a:t>
            </a:r>
          </a:p>
          <a:p>
            <a:pPr algn="ctr">
              <a:lnSpc>
                <a:spcPts val="5046"/>
              </a:lnSpc>
            </a:pPr>
            <a:r>
              <a:rPr lang="en-US" sz="3604" dirty="0" smtClean="0">
                <a:solidFill>
                  <a:srgbClr val="0FB293"/>
                </a:solidFill>
                <a:latin typeface="Montserrat Extra-Bold"/>
              </a:rPr>
              <a:t>МБОУ </a:t>
            </a: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СОШ № 2</a:t>
            </a:r>
          </a:p>
          <a:p>
            <a:pPr algn="ctr">
              <a:lnSpc>
                <a:spcPts val="5046"/>
              </a:lnSpc>
              <a:spcBef>
                <a:spcPct val="0"/>
              </a:spcBef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152,4 МЛН. РУБ</a:t>
            </a:r>
            <a:r>
              <a:rPr lang="en-US" sz="3604" dirty="0" smtClean="0">
                <a:solidFill>
                  <a:srgbClr val="0FB293"/>
                </a:solidFill>
                <a:latin typeface="Montserrat Extra-Bold"/>
              </a:rPr>
              <a:t>.</a:t>
            </a:r>
            <a:endParaRPr lang="ru-RU" sz="3604" dirty="0">
              <a:solidFill>
                <a:srgbClr val="0FB293"/>
              </a:solidFill>
              <a:latin typeface="Montserrat Extra-Bold"/>
            </a:endParaRPr>
          </a:p>
        </p:txBody>
      </p:sp>
      <p:pic>
        <p:nvPicPr>
          <p:cNvPr id="29" name="Picture 25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8952930" y="1104901"/>
            <a:ext cx="7113013" cy="450375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913544" y="103055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533713" y="91724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561601" y="39561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sp>
        <p:nvSpPr>
          <p:cNvPr id="26" name="TextBox 26"/>
          <p:cNvSpPr txBox="1"/>
          <p:nvPr/>
        </p:nvSpPr>
        <p:spPr>
          <a:xfrm>
            <a:off x="5610584" y="36380"/>
            <a:ext cx="7191016" cy="6283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863"/>
              </a:lnSpc>
              <a:spcBef>
                <a:spcPct val="0"/>
              </a:spcBef>
            </a:pPr>
            <a:r>
              <a:rPr lang="en-US" sz="3474" dirty="0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673697" y="1556331"/>
            <a:ext cx="8386285" cy="251870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КАПИТАЛЬНЫЙ РЕМОНТ</a:t>
            </a:r>
          </a:p>
          <a:p>
            <a:pPr algn="ctr">
              <a:lnSpc>
                <a:spcPts val="5046"/>
              </a:lnSpc>
            </a:pPr>
            <a:r>
              <a:rPr lang="ru-RU" sz="3604" dirty="0">
                <a:solidFill>
                  <a:srgbClr val="0FB293"/>
                </a:solidFill>
                <a:latin typeface="Montserrat Extra-Bold"/>
              </a:rPr>
              <a:t>В 2022 ГОДУ</a:t>
            </a:r>
          </a:p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МБОУ СОШ № 2</a:t>
            </a:r>
          </a:p>
          <a:p>
            <a:pPr algn="ctr">
              <a:lnSpc>
                <a:spcPts val="5046"/>
              </a:lnSpc>
              <a:spcBef>
                <a:spcPct val="0"/>
              </a:spcBef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152,4 МЛН. РУБ.</a:t>
            </a:r>
            <a:endParaRPr lang="ru-RU" sz="3604" dirty="0">
              <a:solidFill>
                <a:srgbClr val="0FB293"/>
              </a:solidFill>
              <a:latin typeface="Montserrat Extra-Bold"/>
            </a:endParaRPr>
          </a:p>
        </p:txBody>
      </p:sp>
      <p:sp>
        <p:nvSpPr>
          <p:cNvPr id="28" name="TextBox 28"/>
          <p:cNvSpPr txBox="1"/>
          <p:nvPr/>
        </p:nvSpPr>
        <p:spPr>
          <a:xfrm>
            <a:off x="9120916" y="6427793"/>
            <a:ext cx="7865049" cy="320600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13538A"/>
                </a:solidFill>
                <a:latin typeface="Montserrat Extra-Bold"/>
              </a:rPr>
              <a:t>КАПИТАЛЬНЫЙ </a:t>
            </a:r>
            <a:r>
              <a:rPr lang="en-US" sz="3604" dirty="0" smtClean="0">
                <a:solidFill>
                  <a:srgbClr val="13538A"/>
                </a:solidFill>
                <a:latin typeface="Montserrat Extra-Bold"/>
              </a:rPr>
              <a:t>РЕМОНТ</a:t>
            </a:r>
            <a:endParaRPr lang="ru-RU" sz="3604" dirty="0" smtClean="0">
              <a:solidFill>
                <a:srgbClr val="13538A"/>
              </a:solidFill>
              <a:latin typeface="Montserrat Extra-Bold"/>
            </a:endParaRPr>
          </a:p>
          <a:p>
            <a:pPr algn="ctr">
              <a:lnSpc>
                <a:spcPts val="5046"/>
              </a:lnSpc>
            </a:pPr>
            <a:r>
              <a:rPr lang="ru-RU" sz="3604" dirty="0" smtClean="0">
                <a:solidFill>
                  <a:srgbClr val="13538A"/>
                </a:solidFill>
                <a:latin typeface="Montserrat Extra-Bold"/>
              </a:rPr>
              <a:t>В 2023 году</a:t>
            </a:r>
            <a:endParaRPr lang="en-US" sz="3604" dirty="0">
              <a:solidFill>
                <a:srgbClr val="13538A"/>
              </a:solidFill>
              <a:latin typeface="Montserrat Extra-Bold"/>
            </a:endParaRPr>
          </a:p>
          <a:p>
            <a:pPr algn="ctr">
              <a:lnSpc>
                <a:spcPts val="5046"/>
              </a:lnSpc>
            </a:pPr>
            <a:r>
              <a:rPr lang="en-US" sz="3604" dirty="0" smtClean="0">
                <a:solidFill>
                  <a:srgbClr val="13538A"/>
                </a:solidFill>
                <a:latin typeface="Montserrat Extra-Bold"/>
              </a:rPr>
              <a:t>МБОУ </a:t>
            </a:r>
            <a:r>
              <a:rPr lang="en-US" sz="3604" dirty="0">
                <a:solidFill>
                  <a:srgbClr val="13538A"/>
                </a:solidFill>
                <a:latin typeface="Montserrat Extra-Bold"/>
              </a:rPr>
              <a:t>СОШ № </a:t>
            </a:r>
            <a:r>
              <a:rPr lang="ru-RU" sz="3604" dirty="0" smtClean="0">
                <a:solidFill>
                  <a:srgbClr val="13538A"/>
                </a:solidFill>
                <a:latin typeface="Montserrat Extra-Bold"/>
              </a:rPr>
              <a:t>14</a:t>
            </a:r>
            <a:endParaRPr lang="en-US" sz="3604" dirty="0">
              <a:solidFill>
                <a:srgbClr val="13538A"/>
              </a:solidFill>
              <a:latin typeface="Montserrat Extra-Bold"/>
            </a:endParaRPr>
          </a:p>
          <a:p>
            <a:pPr algn="ctr">
              <a:lnSpc>
                <a:spcPts val="5046"/>
              </a:lnSpc>
              <a:spcBef>
                <a:spcPct val="0"/>
              </a:spcBef>
            </a:pPr>
            <a:r>
              <a:rPr lang="ru-RU" sz="3604" dirty="0" smtClean="0">
                <a:solidFill>
                  <a:srgbClr val="13538A"/>
                </a:solidFill>
                <a:latin typeface="Montserrat Extra-Bold"/>
              </a:rPr>
              <a:t>148,9</a:t>
            </a:r>
            <a:r>
              <a:rPr lang="en-US" sz="3604" dirty="0" smtClean="0">
                <a:solidFill>
                  <a:srgbClr val="13538A"/>
                </a:solidFill>
                <a:latin typeface="Montserrat Extra-Bold"/>
              </a:rPr>
              <a:t> </a:t>
            </a:r>
            <a:r>
              <a:rPr lang="en-US" sz="3604" dirty="0">
                <a:solidFill>
                  <a:srgbClr val="13538A"/>
                </a:solidFill>
                <a:latin typeface="Montserrat Extra-Bold"/>
              </a:rPr>
              <a:t>МЛН. РУБ.</a:t>
            </a:r>
            <a:endParaRPr lang="ru-RU" sz="3604" dirty="0">
              <a:solidFill>
                <a:srgbClr val="13538A"/>
              </a:solidFill>
              <a:latin typeface="Montserrat Extra-Bold"/>
            </a:endParaRPr>
          </a:p>
          <a:p>
            <a:pPr algn="ctr">
              <a:lnSpc>
                <a:spcPts val="5046"/>
              </a:lnSpc>
              <a:spcBef>
                <a:spcPct val="0"/>
              </a:spcBef>
            </a:pPr>
            <a:endParaRPr lang="en-US" sz="3604" dirty="0">
              <a:solidFill>
                <a:srgbClr val="0FB293"/>
              </a:solidFill>
              <a:latin typeface="Montserrat Extra-Bold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2653" y="4360179"/>
            <a:ext cx="7528173" cy="52308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6" name="Picture 25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9067800" y="1238928"/>
            <a:ext cx="7315199" cy="46284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677669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913544" y="103055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533713" y="91724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561601" y="39561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pic>
        <p:nvPicPr>
          <p:cNvPr id="24" name="Picture 24"/>
          <p:cNvPicPr>
            <a:picLocks noChangeAspect="1"/>
          </p:cNvPicPr>
          <p:nvPr/>
        </p:nvPicPr>
        <p:blipFill>
          <a:blip r:embed="rId3"/>
          <a:srcRect t="13488" b="3768"/>
          <a:stretch>
            <a:fillRect/>
          </a:stretch>
        </p:blipFill>
        <p:spPr>
          <a:xfrm>
            <a:off x="8455881" y="1238928"/>
            <a:ext cx="7881139" cy="459732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6" name="TextBox 26"/>
          <p:cNvSpPr txBox="1"/>
          <p:nvPr/>
        </p:nvSpPr>
        <p:spPr>
          <a:xfrm>
            <a:off x="5610584" y="36380"/>
            <a:ext cx="7267216" cy="5961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863"/>
              </a:lnSpc>
              <a:spcBef>
                <a:spcPct val="0"/>
              </a:spcBef>
            </a:pPr>
            <a:r>
              <a:rPr lang="en-US" sz="3474" dirty="0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561601" y="1769031"/>
            <a:ext cx="8386285" cy="189731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ЭНЕРГОСЕРВИСНЫЕ</a:t>
            </a:r>
          </a:p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КОНТРАКТЫ</a:t>
            </a:r>
          </a:p>
          <a:p>
            <a:pPr algn="ctr">
              <a:lnSpc>
                <a:spcPts val="5046"/>
              </a:lnSpc>
              <a:spcBef>
                <a:spcPct val="0"/>
              </a:spcBef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31,1 МЛН. РУБ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913544" y="103055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533713" y="91724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561601" y="39561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pic>
        <p:nvPicPr>
          <p:cNvPr id="25" name="Picture 25"/>
          <p:cNvPicPr>
            <a:picLocks noChangeAspect="1"/>
          </p:cNvPicPr>
          <p:nvPr/>
        </p:nvPicPr>
        <p:blipFill>
          <a:blip r:embed="rId3"/>
          <a:srcRect l="10388" b="12426"/>
          <a:stretch>
            <a:fillRect/>
          </a:stretch>
        </p:blipFill>
        <p:spPr>
          <a:xfrm>
            <a:off x="813609" y="4935451"/>
            <a:ext cx="8850697" cy="486530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6" name="TextBox 26"/>
          <p:cNvSpPr txBox="1"/>
          <p:nvPr/>
        </p:nvSpPr>
        <p:spPr>
          <a:xfrm>
            <a:off x="5610584" y="36380"/>
            <a:ext cx="7267216" cy="5961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863"/>
              </a:lnSpc>
              <a:spcBef>
                <a:spcPct val="0"/>
              </a:spcBef>
            </a:pPr>
            <a:r>
              <a:rPr lang="en-US" sz="3474" dirty="0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561601" y="1769031"/>
            <a:ext cx="8386285" cy="189731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ЭНЕРГОСЕРВИСНЫЕ</a:t>
            </a:r>
          </a:p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КОНТРАКТЫ</a:t>
            </a:r>
          </a:p>
          <a:p>
            <a:pPr algn="ctr">
              <a:lnSpc>
                <a:spcPts val="5046"/>
              </a:lnSpc>
              <a:spcBef>
                <a:spcPct val="0"/>
              </a:spcBef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31,1 МЛН. РУБ.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9664307" y="6332306"/>
            <a:ext cx="7865049" cy="31787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46"/>
              </a:lnSpc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ОПЛАТА ЛИЗИНГОВЫХ ПЛАТЕЖЕЙ НА ПРИОБРЕТЕНИЕ СПЕЦТЕХНИКИ</a:t>
            </a:r>
          </a:p>
          <a:p>
            <a:pPr algn="ctr">
              <a:lnSpc>
                <a:spcPts val="5046"/>
              </a:lnSpc>
              <a:spcBef>
                <a:spcPct val="0"/>
              </a:spcBef>
            </a:pPr>
            <a:r>
              <a:rPr lang="en-US" sz="3604" dirty="0">
                <a:solidFill>
                  <a:srgbClr val="0FB293"/>
                </a:solidFill>
                <a:latin typeface="Montserrat Extra-Bold"/>
              </a:rPr>
              <a:t>19,3 МЛН. РУБ.</a:t>
            </a:r>
          </a:p>
        </p:txBody>
      </p:sp>
      <p:pic>
        <p:nvPicPr>
          <p:cNvPr id="24" name="Picture 24"/>
          <p:cNvPicPr>
            <a:picLocks noChangeAspect="1"/>
          </p:cNvPicPr>
          <p:nvPr/>
        </p:nvPicPr>
        <p:blipFill>
          <a:blip r:embed="rId4"/>
          <a:srcRect t="13488" b="3768"/>
          <a:stretch>
            <a:fillRect/>
          </a:stretch>
        </p:blipFill>
        <p:spPr>
          <a:xfrm>
            <a:off x="8455881" y="1238928"/>
            <a:ext cx="7881139" cy="459732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163930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763046" y="184328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324163" y="8972141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352051" y="-160774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pic>
        <p:nvPicPr>
          <p:cNvPr id="24" name="Picture 2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886150" y="7624405"/>
            <a:ext cx="2891337" cy="2695472"/>
          </a:xfrm>
          <a:prstGeom prst="rect">
            <a:avLst/>
          </a:prstGeom>
        </p:spPr>
      </p:pic>
      <p:pic>
        <p:nvPicPr>
          <p:cNvPr id="25" name="Picture 25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553397" y="5326557"/>
            <a:ext cx="6913412" cy="5729490"/>
          </a:xfrm>
          <a:prstGeom prst="rect">
            <a:avLst/>
          </a:prstGeom>
        </p:spPr>
      </p:pic>
      <p:grpSp>
        <p:nvGrpSpPr>
          <p:cNvPr id="26" name="Group 26"/>
          <p:cNvGrpSpPr/>
          <p:nvPr/>
        </p:nvGrpSpPr>
        <p:grpSpPr>
          <a:xfrm>
            <a:off x="8196223" y="2171700"/>
            <a:ext cx="730363" cy="4681933"/>
            <a:chOff x="0" y="0"/>
            <a:chExt cx="1468487" cy="5126212"/>
          </a:xfrm>
        </p:grpSpPr>
        <p:sp>
          <p:nvSpPr>
            <p:cNvPr id="27" name="Freeform 27"/>
            <p:cNvSpPr/>
            <p:nvPr/>
          </p:nvSpPr>
          <p:spPr>
            <a:xfrm>
              <a:off x="0" y="0"/>
              <a:ext cx="1468487" cy="5126212"/>
            </a:xfrm>
            <a:custGeom>
              <a:avLst/>
              <a:gdLst/>
              <a:ahLst/>
              <a:cxnLst/>
              <a:rect l="l" t="t" r="r" b="b"/>
              <a:pathLst>
                <a:path w="1468487" h="5126212">
                  <a:moveTo>
                    <a:pt x="1344027" y="5126212"/>
                  </a:moveTo>
                  <a:lnTo>
                    <a:pt x="124460" y="5126212"/>
                  </a:lnTo>
                  <a:cubicBezTo>
                    <a:pt x="55880" y="5126212"/>
                    <a:pt x="0" y="5070332"/>
                    <a:pt x="0" y="500175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5001752"/>
                  </a:lnTo>
                  <a:cubicBezTo>
                    <a:pt x="1468487" y="5070332"/>
                    <a:pt x="1412607" y="5126212"/>
                    <a:pt x="1344027" y="5126212"/>
                  </a:cubicBezTo>
                  <a:close/>
                </a:path>
              </a:pathLst>
            </a:custGeom>
            <a:solidFill>
              <a:srgbClr val="13538A"/>
            </a:solidFill>
          </p:spPr>
        </p:sp>
      </p:grpSp>
      <p:grpSp>
        <p:nvGrpSpPr>
          <p:cNvPr id="28" name="Group 28"/>
          <p:cNvGrpSpPr/>
          <p:nvPr/>
        </p:nvGrpSpPr>
        <p:grpSpPr>
          <a:xfrm>
            <a:off x="10852696" y="3412526"/>
            <a:ext cx="729703" cy="3441107"/>
            <a:chOff x="0" y="0"/>
            <a:chExt cx="1468487" cy="6503384"/>
          </a:xfrm>
        </p:grpSpPr>
        <p:sp>
          <p:nvSpPr>
            <p:cNvPr id="29" name="Freeform 29"/>
            <p:cNvSpPr/>
            <p:nvPr/>
          </p:nvSpPr>
          <p:spPr>
            <a:xfrm>
              <a:off x="0" y="0"/>
              <a:ext cx="1468487" cy="6503384"/>
            </a:xfrm>
            <a:custGeom>
              <a:avLst/>
              <a:gdLst/>
              <a:ahLst/>
              <a:cxnLst/>
              <a:rect l="l" t="t" r="r" b="b"/>
              <a:pathLst>
                <a:path w="1468487" h="6503384">
                  <a:moveTo>
                    <a:pt x="1344027" y="6503384"/>
                  </a:moveTo>
                  <a:lnTo>
                    <a:pt x="124460" y="6503384"/>
                  </a:lnTo>
                  <a:cubicBezTo>
                    <a:pt x="55880" y="6503384"/>
                    <a:pt x="0" y="6447504"/>
                    <a:pt x="0" y="637892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6378924"/>
                  </a:lnTo>
                  <a:cubicBezTo>
                    <a:pt x="1468487" y="6447504"/>
                    <a:pt x="1412607" y="6503384"/>
                    <a:pt x="1344027" y="6503384"/>
                  </a:cubicBezTo>
                  <a:close/>
                </a:path>
              </a:pathLst>
            </a:custGeom>
            <a:solidFill>
              <a:srgbClr val="13538A"/>
            </a:solidFill>
          </p:spPr>
        </p:sp>
      </p:grpSp>
      <p:grpSp>
        <p:nvGrpSpPr>
          <p:cNvPr id="30" name="Group 30"/>
          <p:cNvGrpSpPr/>
          <p:nvPr/>
        </p:nvGrpSpPr>
        <p:grpSpPr>
          <a:xfrm rot="5400000">
            <a:off x="3065413" y="-201160"/>
            <a:ext cx="1240213" cy="6365253"/>
            <a:chOff x="0" y="0"/>
            <a:chExt cx="2076063" cy="10655154"/>
          </a:xfrm>
        </p:grpSpPr>
        <p:sp>
          <p:nvSpPr>
            <p:cNvPr id="31" name="Freeform 31"/>
            <p:cNvSpPr/>
            <p:nvPr/>
          </p:nvSpPr>
          <p:spPr>
            <a:xfrm>
              <a:off x="0" y="0"/>
              <a:ext cx="2076063" cy="10655154"/>
            </a:xfrm>
            <a:custGeom>
              <a:avLst/>
              <a:gdLst/>
              <a:ahLst/>
              <a:cxnLst/>
              <a:rect l="l" t="t" r="r" b="b"/>
              <a:pathLst>
                <a:path w="2076063" h="10655154">
                  <a:moveTo>
                    <a:pt x="1951603" y="10655154"/>
                  </a:moveTo>
                  <a:lnTo>
                    <a:pt x="124460" y="10655154"/>
                  </a:lnTo>
                  <a:cubicBezTo>
                    <a:pt x="55880" y="10655154"/>
                    <a:pt x="0" y="10599275"/>
                    <a:pt x="0" y="1053069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951603" y="0"/>
                  </a:lnTo>
                  <a:cubicBezTo>
                    <a:pt x="2020183" y="0"/>
                    <a:pt x="2076063" y="55880"/>
                    <a:pt x="2076063" y="124460"/>
                  </a:cubicBezTo>
                  <a:lnTo>
                    <a:pt x="2076063" y="10530694"/>
                  </a:lnTo>
                  <a:cubicBezTo>
                    <a:pt x="2076063" y="10599275"/>
                    <a:pt x="2020183" y="10655154"/>
                    <a:pt x="1951603" y="10655154"/>
                  </a:cubicBezTo>
                  <a:close/>
                </a:path>
              </a:pathLst>
            </a:custGeom>
            <a:solidFill>
              <a:srgbClr val="13538A"/>
            </a:solidFill>
          </p:spPr>
        </p:sp>
      </p:grpSp>
      <p:grpSp>
        <p:nvGrpSpPr>
          <p:cNvPr id="32" name="Group 32"/>
          <p:cNvGrpSpPr/>
          <p:nvPr/>
        </p:nvGrpSpPr>
        <p:grpSpPr>
          <a:xfrm rot="5400000">
            <a:off x="3065413" y="1385250"/>
            <a:ext cx="1240213" cy="6365253"/>
            <a:chOff x="0" y="0"/>
            <a:chExt cx="2076063" cy="10655154"/>
          </a:xfrm>
        </p:grpSpPr>
        <p:sp>
          <p:nvSpPr>
            <p:cNvPr id="33" name="Freeform 33"/>
            <p:cNvSpPr/>
            <p:nvPr/>
          </p:nvSpPr>
          <p:spPr>
            <a:xfrm>
              <a:off x="0" y="0"/>
              <a:ext cx="2076063" cy="10655154"/>
            </a:xfrm>
            <a:custGeom>
              <a:avLst/>
              <a:gdLst/>
              <a:ahLst/>
              <a:cxnLst/>
              <a:rect l="l" t="t" r="r" b="b"/>
              <a:pathLst>
                <a:path w="2076063" h="10655154">
                  <a:moveTo>
                    <a:pt x="1951603" y="10655154"/>
                  </a:moveTo>
                  <a:lnTo>
                    <a:pt x="124460" y="10655154"/>
                  </a:lnTo>
                  <a:cubicBezTo>
                    <a:pt x="55880" y="10655154"/>
                    <a:pt x="0" y="10599275"/>
                    <a:pt x="0" y="1053069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951603" y="0"/>
                  </a:lnTo>
                  <a:cubicBezTo>
                    <a:pt x="2020183" y="0"/>
                    <a:pt x="2076063" y="55880"/>
                    <a:pt x="2076063" y="124460"/>
                  </a:cubicBezTo>
                  <a:lnTo>
                    <a:pt x="2076063" y="10530694"/>
                  </a:lnTo>
                  <a:cubicBezTo>
                    <a:pt x="2076063" y="10599275"/>
                    <a:pt x="2020183" y="10655154"/>
                    <a:pt x="1951603" y="10655154"/>
                  </a:cubicBezTo>
                  <a:close/>
                </a:path>
              </a:pathLst>
            </a:custGeom>
            <a:solidFill>
              <a:srgbClr val="13538A"/>
            </a:solidFill>
          </p:spPr>
        </p:sp>
      </p:grpSp>
      <p:grpSp>
        <p:nvGrpSpPr>
          <p:cNvPr id="34" name="Group 34"/>
          <p:cNvGrpSpPr/>
          <p:nvPr/>
        </p:nvGrpSpPr>
        <p:grpSpPr>
          <a:xfrm rot="5400000">
            <a:off x="3065413" y="2986555"/>
            <a:ext cx="1240213" cy="6365253"/>
            <a:chOff x="0" y="0"/>
            <a:chExt cx="2076063" cy="10655154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2076063" cy="10655154"/>
            </a:xfrm>
            <a:custGeom>
              <a:avLst/>
              <a:gdLst/>
              <a:ahLst/>
              <a:cxnLst/>
              <a:rect l="l" t="t" r="r" b="b"/>
              <a:pathLst>
                <a:path w="2076063" h="10655154">
                  <a:moveTo>
                    <a:pt x="1951603" y="10655154"/>
                  </a:moveTo>
                  <a:lnTo>
                    <a:pt x="124460" y="10655154"/>
                  </a:lnTo>
                  <a:cubicBezTo>
                    <a:pt x="55880" y="10655154"/>
                    <a:pt x="0" y="10599275"/>
                    <a:pt x="0" y="1053069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951603" y="0"/>
                  </a:lnTo>
                  <a:cubicBezTo>
                    <a:pt x="2020183" y="0"/>
                    <a:pt x="2076063" y="55880"/>
                    <a:pt x="2076063" y="124460"/>
                  </a:cubicBezTo>
                  <a:lnTo>
                    <a:pt x="2076063" y="10530694"/>
                  </a:lnTo>
                  <a:cubicBezTo>
                    <a:pt x="2076063" y="10599275"/>
                    <a:pt x="2020183" y="10655154"/>
                    <a:pt x="1951603" y="10655154"/>
                  </a:cubicBezTo>
                  <a:close/>
                </a:path>
              </a:pathLst>
            </a:custGeom>
            <a:solidFill>
              <a:srgbClr val="13538A"/>
            </a:solidFill>
          </p:spPr>
        </p:sp>
      </p:grpSp>
      <p:grpSp>
        <p:nvGrpSpPr>
          <p:cNvPr id="36" name="Group 36"/>
          <p:cNvGrpSpPr/>
          <p:nvPr/>
        </p:nvGrpSpPr>
        <p:grpSpPr>
          <a:xfrm rot="5400000">
            <a:off x="983597" y="2372167"/>
            <a:ext cx="862119" cy="1218598"/>
            <a:chOff x="0" y="0"/>
            <a:chExt cx="2076063" cy="2934496"/>
          </a:xfrm>
        </p:grpSpPr>
        <p:sp>
          <p:nvSpPr>
            <p:cNvPr id="37" name="Freeform 37"/>
            <p:cNvSpPr/>
            <p:nvPr/>
          </p:nvSpPr>
          <p:spPr>
            <a:xfrm>
              <a:off x="0" y="0"/>
              <a:ext cx="2076063" cy="2934496"/>
            </a:xfrm>
            <a:custGeom>
              <a:avLst/>
              <a:gdLst/>
              <a:ahLst/>
              <a:cxnLst/>
              <a:rect l="l" t="t" r="r" b="b"/>
              <a:pathLst>
                <a:path w="2076063" h="2934496">
                  <a:moveTo>
                    <a:pt x="1951603" y="2934496"/>
                  </a:moveTo>
                  <a:lnTo>
                    <a:pt x="124460" y="2934496"/>
                  </a:lnTo>
                  <a:cubicBezTo>
                    <a:pt x="55880" y="2934496"/>
                    <a:pt x="0" y="2878616"/>
                    <a:pt x="0" y="2810036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951603" y="0"/>
                  </a:lnTo>
                  <a:cubicBezTo>
                    <a:pt x="2020183" y="0"/>
                    <a:pt x="2076063" y="55880"/>
                    <a:pt x="2076063" y="124460"/>
                  </a:cubicBezTo>
                  <a:lnTo>
                    <a:pt x="2076063" y="2810036"/>
                  </a:lnTo>
                  <a:cubicBezTo>
                    <a:pt x="2076063" y="2878616"/>
                    <a:pt x="2020183" y="2934496"/>
                    <a:pt x="1951603" y="2934496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grpSp>
        <p:nvGrpSpPr>
          <p:cNvPr id="38" name="Group 38"/>
          <p:cNvGrpSpPr/>
          <p:nvPr/>
        </p:nvGrpSpPr>
        <p:grpSpPr>
          <a:xfrm rot="5400000">
            <a:off x="983597" y="3958578"/>
            <a:ext cx="862119" cy="1218598"/>
            <a:chOff x="0" y="0"/>
            <a:chExt cx="2076063" cy="2934496"/>
          </a:xfrm>
        </p:grpSpPr>
        <p:sp>
          <p:nvSpPr>
            <p:cNvPr id="39" name="Freeform 39"/>
            <p:cNvSpPr/>
            <p:nvPr/>
          </p:nvSpPr>
          <p:spPr>
            <a:xfrm>
              <a:off x="0" y="0"/>
              <a:ext cx="2076063" cy="2934496"/>
            </a:xfrm>
            <a:custGeom>
              <a:avLst/>
              <a:gdLst/>
              <a:ahLst/>
              <a:cxnLst/>
              <a:rect l="l" t="t" r="r" b="b"/>
              <a:pathLst>
                <a:path w="2076063" h="2934496">
                  <a:moveTo>
                    <a:pt x="1951603" y="2934496"/>
                  </a:moveTo>
                  <a:lnTo>
                    <a:pt x="124460" y="2934496"/>
                  </a:lnTo>
                  <a:cubicBezTo>
                    <a:pt x="55880" y="2934496"/>
                    <a:pt x="0" y="2878616"/>
                    <a:pt x="0" y="2810036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951603" y="0"/>
                  </a:lnTo>
                  <a:cubicBezTo>
                    <a:pt x="2020183" y="0"/>
                    <a:pt x="2076063" y="55880"/>
                    <a:pt x="2076063" y="124460"/>
                  </a:cubicBezTo>
                  <a:lnTo>
                    <a:pt x="2076063" y="2810036"/>
                  </a:lnTo>
                  <a:cubicBezTo>
                    <a:pt x="2076063" y="2878616"/>
                    <a:pt x="2020183" y="2934496"/>
                    <a:pt x="1951603" y="2934496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grpSp>
        <p:nvGrpSpPr>
          <p:cNvPr id="40" name="Group 40"/>
          <p:cNvGrpSpPr/>
          <p:nvPr/>
        </p:nvGrpSpPr>
        <p:grpSpPr>
          <a:xfrm rot="5400000">
            <a:off x="983597" y="5559882"/>
            <a:ext cx="862119" cy="1218598"/>
            <a:chOff x="0" y="0"/>
            <a:chExt cx="2076063" cy="2934496"/>
          </a:xfrm>
        </p:grpSpPr>
        <p:sp>
          <p:nvSpPr>
            <p:cNvPr id="41" name="Freeform 41"/>
            <p:cNvSpPr/>
            <p:nvPr/>
          </p:nvSpPr>
          <p:spPr>
            <a:xfrm>
              <a:off x="0" y="0"/>
              <a:ext cx="2076063" cy="2934496"/>
            </a:xfrm>
            <a:custGeom>
              <a:avLst/>
              <a:gdLst/>
              <a:ahLst/>
              <a:cxnLst/>
              <a:rect l="l" t="t" r="r" b="b"/>
              <a:pathLst>
                <a:path w="2076063" h="2934496">
                  <a:moveTo>
                    <a:pt x="1951603" y="2934496"/>
                  </a:moveTo>
                  <a:lnTo>
                    <a:pt x="124460" y="2934496"/>
                  </a:lnTo>
                  <a:cubicBezTo>
                    <a:pt x="55880" y="2934496"/>
                    <a:pt x="0" y="2878616"/>
                    <a:pt x="0" y="2810036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951603" y="0"/>
                  </a:lnTo>
                  <a:cubicBezTo>
                    <a:pt x="2020183" y="0"/>
                    <a:pt x="2076063" y="55880"/>
                    <a:pt x="2076063" y="124460"/>
                  </a:cubicBezTo>
                  <a:lnTo>
                    <a:pt x="2076063" y="2810036"/>
                  </a:lnTo>
                  <a:cubicBezTo>
                    <a:pt x="2076063" y="2878616"/>
                    <a:pt x="2020183" y="2934496"/>
                    <a:pt x="1951603" y="2934496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grpSp>
        <p:nvGrpSpPr>
          <p:cNvPr id="42" name="Group 42"/>
          <p:cNvGrpSpPr/>
          <p:nvPr/>
        </p:nvGrpSpPr>
        <p:grpSpPr>
          <a:xfrm>
            <a:off x="13345695" y="2761295"/>
            <a:ext cx="713098" cy="4092338"/>
            <a:chOff x="0" y="0"/>
            <a:chExt cx="1468487" cy="8427375"/>
          </a:xfrm>
        </p:grpSpPr>
        <p:sp>
          <p:nvSpPr>
            <p:cNvPr id="43" name="Freeform 43"/>
            <p:cNvSpPr/>
            <p:nvPr/>
          </p:nvSpPr>
          <p:spPr>
            <a:xfrm>
              <a:off x="0" y="0"/>
              <a:ext cx="1468487" cy="8427376"/>
            </a:xfrm>
            <a:custGeom>
              <a:avLst/>
              <a:gdLst/>
              <a:ahLst/>
              <a:cxnLst/>
              <a:rect l="l" t="t" r="r" b="b"/>
              <a:pathLst>
                <a:path w="1468487" h="8427376">
                  <a:moveTo>
                    <a:pt x="1344027" y="8427376"/>
                  </a:moveTo>
                  <a:lnTo>
                    <a:pt x="124460" y="8427376"/>
                  </a:lnTo>
                  <a:cubicBezTo>
                    <a:pt x="55880" y="8427376"/>
                    <a:pt x="0" y="8371495"/>
                    <a:pt x="0" y="8302915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302916"/>
                  </a:lnTo>
                  <a:cubicBezTo>
                    <a:pt x="1468487" y="8371495"/>
                    <a:pt x="1412607" y="8427376"/>
                    <a:pt x="1344027" y="8427376"/>
                  </a:cubicBezTo>
                  <a:close/>
                </a:path>
              </a:pathLst>
            </a:custGeom>
            <a:solidFill>
              <a:srgbClr val="13538A"/>
            </a:solidFill>
          </p:spPr>
        </p:sp>
      </p:grpSp>
      <p:grpSp>
        <p:nvGrpSpPr>
          <p:cNvPr id="44" name="Group 44"/>
          <p:cNvGrpSpPr/>
          <p:nvPr/>
        </p:nvGrpSpPr>
        <p:grpSpPr>
          <a:xfrm>
            <a:off x="15926608" y="4686300"/>
            <a:ext cx="758006" cy="2167334"/>
            <a:chOff x="0" y="0"/>
            <a:chExt cx="1468487" cy="10088033"/>
          </a:xfrm>
        </p:grpSpPr>
        <p:sp>
          <p:nvSpPr>
            <p:cNvPr id="45" name="Freeform 45"/>
            <p:cNvSpPr/>
            <p:nvPr/>
          </p:nvSpPr>
          <p:spPr>
            <a:xfrm>
              <a:off x="0" y="0"/>
              <a:ext cx="1468487" cy="10088033"/>
            </a:xfrm>
            <a:custGeom>
              <a:avLst/>
              <a:gdLst/>
              <a:ahLst/>
              <a:cxnLst/>
              <a:rect l="l" t="t" r="r" b="b"/>
              <a:pathLst>
                <a:path w="1468487" h="10088033">
                  <a:moveTo>
                    <a:pt x="1344027" y="10088033"/>
                  </a:moveTo>
                  <a:lnTo>
                    <a:pt x="124460" y="10088033"/>
                  </a:lnTo>
                  <a:cubicBezTo>
                    <a:pt x="55880" y="10088033"/>
                    <a:pt x="0" y="10032153"/>
                    <a:pt x="0" y="9963573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9963573"/>
                  </a:lnTo>
                  <a:cubicBezTo>
                    <a:pt x="1468487" y="10032153"/>
                    <a:pt x="1412607" y="10088033"/>
                    <a:pt x="1344027" y="10088033"/>
                  </a:cubicBezTo>
                  <a:close/>
                </a:path>
              </a:pathLst>
            </a:custGeom>
            <a:solidFill>
              <a:srgbClr val="13538A"/>
            </a:solidFill>
          </p:spPr>
        </p:sp>
      </p:grpSp>
      <p:sp>
        <p:nvSpPr>
          <p:cNvPr id="46" name="AutoShape 46"/>
          <p:cNvSpPr/>
          <p:nvPr/>
        </p:nvSpPr>
        <p:spPr>
          <a:xfrm rot="-5400000">
            <a:off x="4992330" y="4608656"/>
            <a:ext cx="5020887" cy="0"/>
          </a:xfrm>
          <a:prstGeom prst="line">
            <a:avLst/>
          </a:prstGeom>
          <a:ln w="38100" cap="rnd">
            <a:solidFill>
              <a:srgbClr val="000000">
                <a:alpha val="10980"/>
              </a:srgbClr>
            </a:solidFill>
            <a:prstDash val="solid"/>
            <a:headEnd type="none" w="sm" len="sm"/>
            <a:tailEnd type="none" w="sm" len="sm"/>
          </a:ln>
        </p:spPr>
      </p:sp>
      <p:sp>
        <p:nvSpPr>
          <p:cNvPr id="47" name="AutoShape 47"/>
          <p:cNvSpPr/>
          <p:nvPr/>
        </p:nvSpPr>
        <p:spPr>
          <a:xfrm rot="-10009">
            <a:off x="7522783" y="7072047"/>
            <a:ext cx="10555618" cy="0"/>
          </a:xfrm>
          <a:prstGeom prst="line">
            <a:avLst/>
          </a:prstGeom>
          <a:ln w="38100" cap="rnd">
            <a:solidFill>
              <a:srgbClr val="000000">
                <a:alpha val="10980"/>
              </a:srgbClr>
            </a:solidFill>
            <a:prstDash val="solid"/>
            <a:headEnd type="none" w="sm" len="sm"/>
            <a:tailEnd type="none" w="sm" len="sm"/>
          </a:ln>
        </p:spPr>
      </p:sp>
      <p:pic>
        <p:nvPicPr>
          <p:cNvPr id="48" name="Picture 48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1839968" y="8047074"/>
            <a:ext cx="3321049" cy="2047980"/>
          </a:xfrm>
          <a:prstGeom prst="rect">
            <a:avLst/>
          </a:prstGeom>
        </p:spPr>
      </p:pic>
      <p:sp>
        <p:nvSpPr>
          <p:cNvPr id="49" name="TextBox 49"/>
          <p:cNvSpPr txBox="1"/>
          <p:nvPr/>
        </p:nvSpPr>
        <p:spPr>
          <a:xfrm>
            <a:off x="5942806" y="51434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7269206" y="604043"/>
            <a:ext cx="3855981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2C92D5"/>
                </a:solidFill>
                <a:latin typeface="Montserrat Extra-Bold"/>
              </a:rPr>
              <a:t>Дорожный фонд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3062993" y="2510618"/>
            <a:ext cx="2951460" cy="9535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800"/>
              </a:lnSpc>
            </a:pPr>
            <a:r>
              <a:rPr lang="en-US" sz="2714" dirty="0">
                <a:solidFill>
                  <a:srgbClr val="FFFFFF"/>
                </a:solidFill>
                <a:latin typeface="Montserrat Extra-Bold"/>
              </a:rPr>
              <a:t>СОДЕРЖАНИЕ</a:t>
            </a:r>
          </a:p>
          <a:p>
            <a:pPr algn="ctr">
              <a:lnSpc>
                <a:spcPts val="3800"/>
              </a:lnSpc>
              <a:spcBef>
                <a:spcPct val="0"/>
              </a:spcBef>
            </a:pPr>
            <a:r>
              <a:rPr lang="en-US" sz="2714" dirty="0">
                <a:solidFill>
                  <a:srgbClr val="FFFFFF"/>
                </a:solidFill>
                <a:latin typeface="Montserrat Extra-Bold"/>
              </a:rPr>
              <a:t>ДОРОГ</a:t>
            </a:r>
          </a:p>
        </p:txBody>
      </p:sp>
      <p:sp>
        <p:nvSpPr>
          <p:cNvPr id="52" name="TextBox 52"/>
          <p:cNvSpPr txBox="1"/>
          <p:nvPr/>
        </p:nvSpPr>
        <p:spPr>
          <a:xfrm>
            <a:off x="909758" y="2606133"/>
            <a:ext cx="1022520" cy="6839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672"/>
              </a:lnSpc>
              <a:spcBef>
                <a:spcPct val="0"/>
              </a:spcBef>
            </a:pPr>
            <a:r>
              <a:rPr lang="en-US" sz="4052">
                <a:solidFill>
                  <a:srgbClr val="13538A"/>
                </a:solidFill>
                <a:latin typeface="Montserrat Extra-Bold"/>
              </a:rPr>
              <a:t>42,1</a:t>
            </a:r>
          </a:p>
        </p:txBody>
      </p:sp>
      <p:sp>
        <p:nvSpPr>
          <p:cNvPr id="53" name="TextBox 53"/>
          <p:cNvSpPr txBox="1"/>
          <p:nvPr/>
        </p:nvSpPr>
        <p:spPr>
          <a:xfrm>
            <a:off x="1014248" y="4192543"/>
            <a:ext cx="813540" cy="6839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672"/>
              </a:lnSpc>
              <a:spcBef>
                <a:spcPct val="0"/>
              </a:spcBef>
            </a:pPr>
            <a:r>
              <a:rPr lang="en-US" sz="4052" dirty="0">
                <a:solidFill>
                  <a:srgbClr val="13538A"/>
                </a:solidFill>
                <a:latin typeface="Montserrat Extra-Bold"/>
              </a:rPr>
              <a:t>6,9</a:t>
            </a:r>
          </a:p>
        </p:txBody>
      </p:sp>
      <p:sp>
        <p:nvSpPr>
          <p:cNvPr id="54" name="TextBox 54"/>
          <p:cNvSpPr txBox="1"/>
          <p:nvPr/>
        </p:nvSpPr>
        <p:spPr>
          <a:xfrm>
            <a:off x="855818" y="5907630"/>
            <a:ext cx="1076460" cy="48201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991"/>
              </a:lnSpc>
              <a:spcBef>
                <a:spcPct val="0"/>
              </a:spcBef>
            </a:pPr>
            <a:r>
              <a:rPr lang="en-US" sz="2851" dirty="0">
                <a:solidFill>
                  <a:srgbClr val="13538A"/>
                </a:solidFill>
                <a:latin typeface="Montserrat Extra-Bold"/>
              </a:rPr>
              <a:t>282,7</a:t>
            </a:r>
          </a:p>
        </p:txBody>
      </p:sp>
      <p:sp>
        <p:nvSpPr>
          <p:cNvPr id="55" name="TextBox 55"/>
          <p:cNvSpPr txBox="1"/>
          <p:nvPr/>
        </p:nvSpPr>
        <p:spPr>
          <a:xfrm>
            <a:off x="2166114" y="4169884"/>
            <a:ext cx="4562738" cy="7674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036"/>
              </a:lnSpc>
            </a:pPr>
            <a:r>
              <a:rPr lang="en-US" sz="1454" dirty="0">
                <a:solidFill>
                  <a:srgbClr val="FFFFFF"/>
                </a:solidFill>
                <a:latin typeface="Montserrat Extra-Bold"/>
              </a:rPr>
              <a:t>РЕМОНТ АВТОМОБИЛЬНЫХ</a:t>
            </a:r>
          </a:p>
          <a:p>
            <a:pPr algn="ctr">
              <a:lnSpc>
                <a:spcPts val="2036"/>
              </a:lnSpc>
            </a:pPr>
            <a:r>
              <a:rPr lang="en-US" sz="1454" dirty="0">
                <a:solidFill>
                  <a:srgbClr val="FFFFFF"/>
                </a:solidFill>
                <a:latin typeface="Montserrat Extra-Bold"/>
              </a:rPr>
              <a:t>ДОРОГ ОБЩЕГО ПОЛЬЗОВАНИЯ МЕСТНОГО</a:t>
            </a:r>
          </a:p>
          <a:p>
            <a:pPr algn="ctr">
              <a:lnSpc>
                <a:spcPts val="2036"/>
              </a:lnSpc>
              <a:spcBef>
                <a:spcPct val="0"/>
              </a:spcBef>
            </a:pPr>
            <a:r>
              <a:rPr lang="en-US" sz="1454" dirty="0">
                <a:solidFill>
                  <a:srgbClr val="FFFFFF"/>
                </a:solidFill>
                <a:latin typeface="Montserrat Extra-Bold"/>
              </a:rPr>
              <a:t>ЗНАЧЕНИЯ В ГРАНИЦАХ ГОРОДА</a:t>
            </a:r>
          </a:p>
        </p:txBody>
      </p:sp>
      <p:sp>
        <p:nvSpPr>
          <p:cNvPr id="56" name="TextBox 56"/>
          <p:cNvSpPr txBox="1"/>
          <p:nvPr/>
        </p:nvSpPr>
        <p:spPr>
          <a:xfrm>
            <a:off x="2121604" y="5709546"/>
            <a:ext cx="4607248" cy="9152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809"/>
              </a:lnSpc>
            </a:pPr>
            <a:r>
              <a:rPr lang="en-US" sz="1292" dirty="0">
                <a:solidFill>
                  <a:srgbClr val="FFFFFF"/>
                </a:solidFill>
                <a:latin typeface="Montserrat Extra-Bold"/>
              </a:rPr>
              <a:t>РЕАЛИЗАЦИЯ МЕРОПРИЯТИЙ НАЦИОНАЛЬНОГО</a:t>
            </a:r>
          </a:p>
          <a:p>
            <a:pPr algn="ctr">
              <a:lnSpc>
                <a:spcPts val="1809"/>
              </a:lnSpc>
            </a:pPr>
            <a:r>
              <a:rPr lang="en-US" sz="1292" dirty="0">
                <a:solidFill>
                  <a:srgbClr val="FFFFFF"/>
                </a:solidFill>
                <a:latin typeface="Montserrat Extra-Bold"/>
              </a:rPr>
              <a:t>ПРОЕКТА «БЕЗОПАСНЫЕ И КАЧЕСТВЕННЫЕ</a:t>
            </a:r>
          </a:p>
          <a:p>
            <a:pPr algn="ctr">
              <a:lnSpc>
                <a:spcPts val="1809"/>
              </a:lnSpc>
            </a:pPr>
            <a:r>
              <a:rPr lang="en-US" sz="1292" dirty="0">
                <a:solidFill>
                  <a:srgbClr val="FFFFFF"/>
                </a:solidFill>
                <a:latin typeface="Montserrat Extra-Bold"/>
              </a:rPr>
              <a:t>АВТОМОБИЛЬНЫЕ ДОРОГИ»</a:t>
            </a:r>
          </a:p>
          <a:p>
            <a:pPr algn="ctr">
              <a:lnSpc>
                <a:spcPts val="1809"/>
              </a:lnSpc>
              <a:spcBef>
                <a:spcPct val="0"/>
              </a:spcBef>
            </a:pPr>
            <a:endParaRPr lang="en-US" sz="1292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57" name="TextBox 57"/>
          <p:cNvSpPr txBox="1"/>
          <p:nvPr/>
        </p:nvSpPr>
        <p:spPr>
          <a:xfrm>
            <a:off x="8199609" y="7130875"/>
            <a:ext cx="786173" cy="4606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en-US" sz="2647">
                <a:solidFill>
                  <a:srgbClr val="13538A"/>
                </a:solidFill>
                <a:latin typeface="Montserrat Extra-Bold"/>
              </a:rPr>
              <a:t>2019</a:t>
            </a:r>
          </a:p>
        </p:txBody>
      </p:sp>
      <p:sp>
        <p:nvSpPr>
          <p:cNvPr id="58" name="TextBox 58"/>
          <p:cNvSpPr txBox="1"/>
          <p:nvPr/>
        </p:nvSpPr>
        <p:spPr>
          <a:xfrm>
            <a:off x="15826954" y="7130875"/>
            <a:ext cx="957314" cy="4397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en-US" sz="2647" dirty="0">
                <a:solidFill>
                  <a:srgbClr val="13538A"/>
                </a:solidFill>
                <a:latin typeface="Montserrat Extra-Bold"/>
              </a:rPr>
              <a:t>2022</a:t>
            </a:r>
          </a:p>
        </p:txBody>
      </p:sp>
      <p:sp>
        <p:nvSpPr>
          <p:cNvPr id="59" name="TextBox 59"/>
          <p:cNvSpPr txBox="1"/>
          <p:nvPr/>
        </p:nvSpPr>
        <p:spPr>
          <a:xfrm>
            <a:off x="13378294" y="7130875"/>
            <a:ext cx="834584" cy="4397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en-US" sz="2647" dirty="0">
                <a:solidFill>
                  <a:srgbClr val="13538A"/>
                </a:solidFill>
                <a:latin typeface="Montserrat Extra-Bold"/>
              </a:rPr>
              <a:t>2021</a:t>
            </a:r>
          </a:p>
        </p:txBody>
      </p:sp>
      <p:sp>
        <p:nvSpPr>
          <p:cNvPr id="60" name="TextBox 60"/>
          <p:cNvSpPr txBox="1"/>
          <p:nvPr/>
        </p:nvSpPr>
        <p:spPr>
          <a:xfrm>
            <a:off x="10777486" y="7130875"/>
            <a:ext cx="957314" cy="4397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en-US" sz="2647" dirty="0">
                <a:solidFill>
                  <a:srgbClr val="13538A"/>
                </a:solidFill>
                <a:latin typeface="Montserrat Extra-Bold"/>
              </a:rPr>
              <a:t>2020</a:t>
            </a:r>
          </a:p>
        </p:txBody>
      </p:sp>
      <p:sp>
        <p:nvSpPr>
          <p:cNvPr id="61" name="TextBox 61"/>
          <p:cNvSpPr txBox="1"/>
          <p:nvPr/>
        </p:nvSpPr>
        <p:spPr>
          <a:xfrm rot="-5400000">
            <a:off x="4547629" y="4398361"/>
            <a:ext cx="5386004" cy="4606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en-US" sz="2647" dirty="0">
                <a:solidFill>
                  <a:srgbClr val="13538A"/>
                </a:solidFill>
                <a:latin typeface="Montserrat Extra-Bold"/>
              </a:rPr>
              <a:t>МЛН. РУБ</a:t>
            </a:r>
          </a:p>
        </p:txBody>
      </p:sp>
      <p:sp>
        <p:nvSpPr>
          <p:cNvPr id="62" name="TextBox 62"/>
          <p:cNvSpPr txBox="1"/>
          <p:nvPr/>
        </p:nvSpPr>
        <p:spPr>
          <a:xfrm rot="-5400000">
            <a:off x="7891285" y="4285282"/>
            <a:ext cx="1331453" cy="4744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ru-RU" sz="3600" dirty="0" smtClean="0">
                <a:solidFill>
                  <a:srgbClr val="FFFFFF"/>
                </a:solidFill>
                <a:latin typeface="Montserrat Extra-Bold"/>
              </a:rPr>
              <a:t>1.770</a:t>
            </a:r>
            <a:endParaRPr lang="en-US" sz="3600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63" name="TextBox 63"/>
          <p:cNvSpPr txBox="1"/>
          <p:nvPr/>
        </p:nvSpPr>
        <p:spPr>
          <a:xfrm rot="-5400000">
            <a:off x="10587264" y="4806575"/>
            <a:ext cx="1331453" cy="4744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ru-RU" sz="3600" dirty="0" smtClean="0">
                <a:solidFill>
                  <a:srgbClr val="FFFFFF"/>
                </a:solidFill>
                <a:latin typeface="Montserrat Extra-Bold"/>
              </a:rPr>
              <a:t>617</a:t>
            </a:r>
            <a:endParaRPr lang="en-US" sz="3600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64" name="TextBox 64"/>
          <p:cNvSpPr txBox="1"/>
          <p:nvPr/>
        </p:nvSpPr>
        <p:spPr>
          <a:xfrm rot="-5400000">
            <a:off x="13080688" y="4564965"/>
            <a:ext cx="1331453" cy="4744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ru-RU" sz="3600" dirty="0" smtClean="0">
                <a:solidFill>
                  <a:srgbClr val="FFFFFF"/>
                </a:solidFill>
                <a:latin typeface="Montserrat Extra-Bold"/>
              </a:rPr>
              <a:t>854</a:t>
            </a:r>
            <a:endParaRPr lang="en-US" sz="3600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65" name="TextBox 65"/>
          <p:cNvSpPr txBox="1"/>
          <p:nvPr/>
        </p:nvSpPr>
        <p:spPr>
          <a:xfrm rot="-5400000">
            <a:off x="15703394" y="5417905"/>
            <a:ext cx="1331453" cy="4744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ru-RU" sz="3600" dirty="0" smtClean="0">
                <a:solidFill>
                  <a:srgbClr val="FFFFFF"/>
                </a:solidFill>
                <a:latin typeface="Montserrat Extra-Bold"/>
              </a:rPr>
              <a:t>332</a:t>
            </a:r>
            <a:endParaRPr lang="en-US" sz="3600" dirty="0">
              <a:solidFill>
                <a:srgbClr val="FFFFFF"/>
              </a:solidFill>
              <a:latin typeface="Montserrat Extra-Bold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801765" y="194163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362882" y="89819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390770" y="-150939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sp>
        <p:nvSpPr>
          <p:cNvPr id="24" name="AutoShape 24"/>
          <p:cNvSpPr/>
          <p:nvPr/>
        </p:nvSpPr>
        <p:spPr>
          <a:xfrm rot="5600825">
            <a:off x="3434246" y="3943868"/>
            <a:ext cx="1885627" cy="0"/>
          </a:xfrm>
          <a:prstGeom prst="line">
            <a:avLst/>
          </a:prstGeom>
          <a:ln w="47625" cap="rnd">
            <a:solidFill>
              <a:srgbClr val="13538A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5" name="AutoShape 25"/>
          <p:cNvSpPr/>
          <p:nvPr/>
        </p:nvSpPr>
        <p:spPr>
          <a:xfrm rot="9709349">
            <a:off x="6421223" y="4115982"/>
            <a:ext cx="7137809" cy="0"/>
          </a:xfrm>
          <a:prstGeom prst="line">
            <a:avLst/>
          </a:prstGeom>
          <a:ln w="47625" cap="rnd">
            <a:solidFill>
              <a:srgbClr val="13538A"/>
            </a:solidFill>
            <a:prstDash val="solid"/>
            <a:headEnd type="none" w="sm" len="sm"/>
            <a:tailEnd type="arrow" w="med" len="sm"/>
          </a:ln>
        </p:spPr>
      </p:sp>
      <p:grpSp>
        <p:nvGrpSpPr>
          <p:cNvPr id="26" name="Group 26"/>
          <p:cNvGrpSpPr/>
          <p:nvPr/>
        </p:nvGrpSpPr>
        <p:grpSpPr>
          <a:xfrm>
            <a:off x="476749" y="1733722"/>
            <a:ext cx="6798669" cy="1655150"/>
            <a:chOff x="0" y="0"/>
            <a:chExt cx="2299797" cy="559890"/>
          </a:xfrm>
        </p:grpSpPr>
        <p:sp>
          <p:nvSpPr>
            <p:cNvPr id="27" name="Freeform 27"/>
            <p:cNvSpPr/>
            <p:nvPr/>
          </p:nvSpPr>
          <p:spPr>
            <a:xfrm>
              <a:off x="0" y="0"/>
              <a:ext cx="2299797" cy="559890"/>
            </a:xfrm>
            <a:custGeom>
              <a:avLst/>
              <a:gdLst/>
              <a:ahLst/>
              <a:cxnLst/>
              <a:rect l="l" t="t" r="r" b="b"/>
              <a:pathLst>
                <a:path w="2299797" h="559890">
                  <a:moveTo>
                    <a:pt x="0" y="0"/>
                  </a:moveTo>
                  <a:lnTo>
                    <a:pt x="2299797" y="0"/>
                  </a:lnTo>
                  <a:lnTo>
                    <a:pt x="2299797" y="559890"/>
                  </a:lnTo>
                  <a:lnTo>
                    <a:pt x="0" y="559890"/>
                  </a:lnTo>
                  <a:close/>
                </a:path>
              </a:pathLst>
            </a:custGeom>
            <a:solidFill>
              <a:srgbClr val="13538A"/>
            </a:solidFill>
          </p:spPr>
        </p:sp>
      </p:grpSp>
      <p:grpSp>
        <p:nvGrpSpPr>
          <p:cNvPr id="28" name="Group 28"/>
          <p:cNvGrpSpPr/>
          <p:nvPr/>
        </p:nvGrpSpPr>
        <p:grpSpPr>
          <a:xfrm>
            <a:off x="9996684" y="1733722"/>
            <a:ext cx="6798669" cy="1655150"/>
            <a:chOff x="0" y="0"/>
            <a:chExt cx="2299797" cy="559890"/>
          </a:xfrm>
        </p:grpSpPr>
        <p:sp>
          <p:nvSpPr>
            <p:cNvPr id="29" name="Freeform 29"/>
            <p:cNvSpPr/>
            <p:nvPr/>
          </p:nvSpPr>
          <p:spPr>
            <a:xfrm>
              <a:off x="0" y="0"/>
              <a:ext cx="2299797" cy="559890"/>
            </a:xfrm>
            <a:custGeom>
              <a:avLst/>
              <a:gdLst/>
              <a:ahLst/>
              <a:cxnLst/>
              <a:rect l="l" t="t" r="r" b="b"/>
              <a:pathLst>
                <a:path w="2299797" h="559890">
                  <a:moveTo>
                    <a:pt x="0" y="0"/>
                  </a:moveTo>
                  <a:lnTo>
                    <a:pt x="2299797" y="0"/>
                  </a:lnTo>
                  <a:lnTo>
                    <a:pt x="2299797" y="559890"/>
                  </a:lnTo>
                  <a:lnTo>
                    <a:pt x="0" y="559890"/>
                  </a:lnTo>
                  <a:close/>
                </a:path>
              </a:pathLst>
            </a:custGeom>
            <a:solidFill>
              <a:srgbClr val="13538A"/>
            </a:solidFill>
          </p:spPr>
        </p:sp>
      </p:grpSp>
      <p:sp>
        <p:nvSpPr>
          <p:cNvPr id="30" name="TextBox 30"/>
          <p:cNvSpPr txBox="1"/>
          <p:nvPr/>
        </p:nvSpPr>
        <p:spPr>
          <a:xfrm>
            <a:off x="1403577" y="1849095"/>
            <a:ext cx="4945013" cy="143430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798"/>
              </a:lnSpc>
            </a:pPr>
            <a:r>
              <a:rPr lang="en-US" sz="4142" dirty="0">
                <a:solidFill>
                  <a:srgbClr val="FFFFFF"/>
                </a:solidFill>
                <a:latin typeface="Montserrat Extra-Bold"/>
              </a:rPr>
              <a:t>41,5 МЛН. РУБ.</a:t>
            </a:r>
          </a:p>
          <a:p>
            <a:pPr algn="ctr">
              <a:lnSpc>
                <a:spcPts val="5798"/>
              </a:lnSpc>
              <a:spcBef>
                <a:spcPct val="0"/>
              </a:spcBef>
            </a:pPr>
            <a:r>
              <a:rPr lang="en-US" sz="4142" dirty="0">
                <a:solidFill>
                  <a:srgbClr val="FFFFFF"/>
                </a:solidFill>
                <a:latin typeface="Montserrat Extra-Bold"/>
              </a:rPr>
              <a:t>краевой бюджет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7033065" y="6214323"/>
            <a:ext cx="7974101" cy="217073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798"/>
              </a:lnSpc>
            </a:pPr>
            <a:r>
              <a:rPr lang="en-US" sz="4142">
                <a:solidFill>
                  <a:srgbClr val="0A1D3A"/>
                </a:solidFill>
                <a:latin typeface="Montserrat Extra-Bold"/>
              </a:rPr>
              <a:t>53 СЕМЬИ</a:t>
            </a:r>
          </a:p>
          <a:p>
            <a:pPr>
              <a:lnSpc>
                <a:spcPts val="5798"/>
              </a:lnSpc>
            </a:pPr>
            <a:r>
              <a:rPr lang="en-US" sz="4142">
                <a:solidFill>
                  <a:srgbClr val="0A1D3A"/>
                </a:solidFill>
                <a:latin typeface="Montserrat Extra-Bold"/>
              </a:rPr>
              <a:t>ПЛАНИРУЮТ ПРИОБРЕСТИ</a:t>
            </a:r>
          </a:p>
          <a:p>
            <a:pPr>
              <a:lnSpc>
                <a:spcPts val="5798"/>
              </a:lnSpc>
              <a:spcBef>
                <a:spcPct val="0"/>
              </a:spcBef>
            </a:pPr>
            <a:r>
              <a:rPr lang="en-US" sz="4142">
                <a:solidFill>
                  <a:srgbClr val="0A1D3A"/>
                </a:solidFill>
                <a:latin typeface="Montserrat Extra-Bold"/>
              </a:rPr>
              <a:t>ЖИЛЬЕ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11179247" y="1849095"/>
            <a:ext cx="4551559" cy="143430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798"/>
              </a:lnSpc>
            </a:pPr>
            <a:r>
              <a:rPr lang="en-US" sz="4142" dirty="0">
                <a:solidFill>
                  <a:srgbClr val="FFFFFF"/>
                </a:solidFill>
                <a:latin typeface="Montserrat Extra-Bold"/>
              </a:rPr>
              <a:t>2,2 МЛН. РУБ.</a:t>
            </a:r>
          </a:p>
          <a:p>
            <a:pPr algn="ctr">
              <a:lnSpc>
                <a:spcPts val="5798"/>
              </a:lnSpc>
              <a:spcBef>
                <a:spcPct val="0"/>
              </a:spcBef>
            </a:pPr>
            <a:r>
              <a:rPr lang="en-US" sz="4142" dirty="0">
                <a:solidFill>
                  <a:srgbClr val="FFFFFF"/>
                </a:solidFill>
                <a:latin typeface="Montserrat Extra-Bold"/>
              </a:rPr>
              <a:t>бюджет города</a:t>
            </a:r>
          </a:p>
        </p:txBody>
      </p:sp>
      <p:pic>
        <p:nvPicPr>
          <p:cNvPr id="33" name="Picture 3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286000" y="4885074"/>
            <a:ext cx="4349641" cy="4096903"/>
          </a:xfrm>
          <a:prstGeom prst="rect">
            <a:avLst/>
          </a:prstGeom>
        </p:spPr>
      </p:pic>
      <p:sp>
        <p:nvSpPr>
          <p:cNvPr id="34" name="TextBox 34"/>
          <p:cNvSpPr txBox="1"/>
          <p:nvPr/>
        </p:nvSpPr>
        <p:spPr>
          <a:xfrm>
            <a:off x="5962475" y="61269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35" name="TextBox 35"/>
          <p:cNvSpPr txBox="1"/>
          <p:nvPr/>
        </p:nvSpPr>
        <p:spPr>
          <a:xfrm>
            <a:off x="4339488" y="613877"/>
            <a:ext cx="9648362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2C92D5"/>
                </a:solidFill>
                <a:latin typeface="Montserrat Extra-Bold"/>
              </a:rPr>
              <a:t>ОБЕСПЕЧЕНИЕ ЖИЛЬЕМ МОЛОДЫХ СЕМЕЙ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4467457" y="9191625"/>
            <a:ext cx="9136724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13538A"/>
                </a:solidFill>
                <a:latin typeface="Montserrat Extra-Bold"/>
              </a:rPr>
              <a:t>ОБЩИЙ ОБЪЕМ СРЕДСТВ: 43,7 МЛН. РУБ.</a:t>
            </a:r>
          </a:p>
        </p:txBody>
      </p:sp>
      <p:sp>
        <p:nvSpPr>
          <p:cNvPr id="37" name="AutoShape 37"/>
          <p:cNvSpPr/>
          <p:nvPr/>
        </p:nvSpPr>
        <p:spPr>
          <a:xfrm>
            <a:off x="6911536" y="6032195"/>
            <a:ext cx="8095631" cy="0"/>
          </a:xfrm>
          <a:prstGeom prst="line">
            <a:avLst/>
          </a:prstGeom>
          <a:ln w="47625" cap="rnd">
            <a:solidFill>
              <a:srgbClr val="0A1D3A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38" name="AutoShape 38"/>
          <p:cNvSpPr/>
          <p:nvPr/>
        </p:nvSpPr>
        <p:spPr>
          <a:xfrm>
            <a:off x="6911536" y="8549864"/>
            <a:ext cx="8095631" cy="0"/>
          </a:xfrm>
          <a:prstGeom prst="line">
            <a:avLst/>
          </a:prstGeom>
          <a:ln w="47625" cap="rnd">
            <a:solidFill>
              <a:srgbClr val="0A1D3A"/>
            </a:solidFill>
            <a:prstDash val="solid"/>
            <a:headEnd type="none" w="sm" len="sm"/>
            <a:tailEnd type="none" w="sm" len="sm"/>
          </a:ln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3132394" y="4632258"/>
            <a:ext cx="847666" cy="3611047"/>
            <a:chOff x="0" y="0"/>
            <a:chExt cx="1468487" cy="4765057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468487" cy="4765057"/>
            </a:xfrm>
            <a:custGeom>
              <a:avLst/>
              <a:gdLst/>
              <a:ahLst/>
              <a:cxnLst/>
              <a:rect l="l" t="t" r="r" b="b"/>
              <a:pathLst>
                <a:path w="1468487" h="4765057">
                  <a:moveTo>
                    <a:pt x="1344027" y="4765057"/>
                  </a:moveTo>
                  <a:lnTo>
                    <a:pt x="124460" y="4765057"/>
                  </a:lnTo>
                  <a:cubicBezTo>
                    <a:pt x="55880" y="4765057"/>
                    <a:pt x="0" y="4709177"/>
                    <a:pt x="0" y="4640597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4640597"/>
                  </a:lnTo>
                  <a:cubicBezTo>
                    <a:pt x="1468487" y="4709177"/>
                    <a:pt x="1412607" y="4765057"/>
                    <a:pt x="1344027" y="4765057"/>
                  </a:cubicBezTo>
                  <a:close/>
                </a:path>
              </a:pathLst>
            </a:custGeom>
            <a:solidFill>
              <a:srgbClr val="176294"/>
            </a:solidFill>
          </p:spPr>
        </p:sp>
      </p:grpSp>
      <p:grpSp>
        <p:nvGrpSpPr>
          <p:cNvPr id="4" name="Group 4"/>
          <p:cNvGrpSpPr/>
          <p:nvPr/>
        </p:nvGrpSpPr>
        <p:grpSpPr>
          <a:xfrm>
            <a:off x="7405620" y="4874134"/>
            <a:ext cx="847666" cy="3369171"/>
            <a:chOff x="0" y="0"/>
            <a:chExt cx="1468487" cy="6566260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1468487" cy="6566260"/>
            </a:xfrm>
            <a:custGeom>
              <a:avLst/>
              <a:gdLst/>
              <a:ahLst/>
              <a:cxnLst/>
              <a:rect l="l" t="t" r="r" b="b"/>
              <a:pathLst>
                <a:path w="1468487" h="6566260">
                  <a:moveTo>
                    <a:pt x="1344027" y="6566260"/>
                  </a:moveTo>
                  <a:lnTo>
                    <a:pt x="124460" y="6566260"/>
                  </a:lnTo>
                  <a:cubicBezTo>
                    <a:pt x="55880" y="6566260"/>
                    <a:pt x="0" y="6510380"/>
                    <a:pt x="0" y="644180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6441800"/>
                  </a:lnTo>
                  <a:cubicBezTo>
                    <a:pt x="1468487" y="6510380"/>
                    <a:pt x="1412607" y="6566260"/>
                    <a:pt x="1344027" y="6566260"/>
                  </a:cubicBezTo>
                  <a:close/>
                </a:path>
              </a:pathLst>
            </a:custGeom>
            <a:solidFill>
              <a:srgbClr val="176294"/>
            </a:solidFill>
          </p:spPr>
        </p:sp>
      </p:grpSp>
      <p:grpSp>
        <p:nvGrpSpPr>
          <p:cNvPr id="6" name="Group 6"/>
          <p:cNvGrpSpPr/>
          <p:nvPr/>
        </p:nvGrpSpPr>
        <p:grpSpPr>
          <a:xfrm>
            <a:off x="11405400" y="3516182"/>
            <a:ext cx="847666" cy="4727124"/>
            <a:chOff x="0" y="0"/>
            <a:chExt cx="1468487" cy="7544905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1468487" cy="7544905"/>
            </a:xfrm>
            <a:custGeom>
              <a:avLst/>
              <a:gdLst/>
              <a:ahLst/>
              <a:cxnLst/>
              <a:rect l="l" t="t" r="r" b="b"/>
              <a:pathLst>
                <a:path w="1468487" h="7544905">
                  <a:moveTo>
                    <a:pt x="1344027" y="7544905"/>
                  </a:moveTo>
                  <a:lnTo>
                    <a:pt x="124460" y="7544905"/>
                  </a:lnTo>
                  <a:cubicBezTo>
                    <a:pt x="55880" y="7544905"/>
                    <a:pt x="0" y="7489024"/>
                    <a:pt x="0" y="7420445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7420445"/>
                  </a:lnTo>
                  <a:cubicBezTo>
                    <a:pt x="1468487" y="7489025"/>
                    <a:pt x="1412607" y="7544905"/>
                    <a:pt x="1344027" y="7544905"/>
                  </a:cubicBezTo>
                  <a:close/>
                </a:path>
              </a:pathLst>
            </a:custGeom>
            <a:solidFill>
              <a:srgbClr val="38B6FF"/>
            </a:solidFill>
          </p:spPr>
        </p:sp>
      </p:grpSp>
      <p:grpSp>
        <p:nvGrpSpPr>
          <p:cNvPr id="8" name="Group 8"/>
          <p:cNvGrpSpPr/>
          <p:nvPr/>
        </p:nvGrpSpPr>
        <p:grpSpPr>
          <a:xfrm>
            <a:off x="13310160" y="2933700"/>
            <a:ext cx="847666" cy="5309606"/>
            <a:chOff x="0" y="0"/>
            <a:chExt cx="1468487" cy="7911147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1468487" cy="7911147"/>
            </a:xfrm>
            <a:custGeom>
              <a:avLst/>
              <a:gdLst/>
              <a:ahLst/>
              <a:cxnLst/>
              <a:rect l="l" t="t" r="r" b="b"/>
              <a:pathLst>
                <a:path w="1468487" h="7911147">
                  <a:moveTo>
                    <a:pt x="1344027" y="7911147"/>
                  </a:moveTo>
                  <a:lnTo>
                    <a:pt x="124460" y="7911147"/>
                  </a:lnTo>
                  <a:cubicBezTo>
                    <a:pt x="55880" y="7911147"/>
                    <a:pt x="0" y="7855266"/>
                    <a:pt x="0" y="7786687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7786687"/>
                  </a:lnTo>
                  <a:cubicBezTo>
                    <a:pt x="1468487" y="7855266"/>
                    <a:pt x="1412607" y="7911147"/>
                    <a:pt x="1344027" y="7911147"/>
                  </a:cubicBezTo>
                  <a:close/>
                </a:path>
              </a:pathLst>
            </a:custGeom>
            <a:solidFill>
              <a:srgbClr val="5271FF"/>
            </a:solidFill>
          </p:spPr>
        </p:sp>
      </p:grpSp>
      <p:grpSp>
        <p:nvGrpSpPr>
          <p:cNvPr id="10" name="Group 10"/>
          <p:cNvGrpSpPr/>
          <p:nvPr/>
        </p:nvGrpSpPr>
        <p:grpSpPr>
          <a:xfrm>
            <a:off x="15250519" y="3314700"/>
            <a:ext cx="847666" cy="4928606"/>
            <a:chOff x="0" y="0"/>
            <a:chExt cx="1468487" cy="8677831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1468487" cy="8677831"/>
            </a:xfrm>
            <a:custGeom>
              <a:avLst/>
              <a:gdLst/>
              <a:ahLst/>
              <a:cxnLst/>
              <a:rect l="l" t="t" r="r" b="b"/>
              <a:pathLst>
                <a:path w="1468487" h="8677831">
                  <a:moveTo>
                    <a:pt x="1344027" y="8677831"/>
                  </a:moveTo>
                  <a:lnTo>
                    <a:pt x="124460" y="8677831"/>
                  </a:lnTo>
                  <a:cubicBezTo>
                    <a:pt x="55880" y="8677831"/>
                    <a:pt x="0" y="8621951"/>
                    <a:pt x="0" y="8553371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553371"/>
                  </a:lnTo>
                  <a:cubicBezTo>
                    <a:pt x="1468487" y="8621951"/>
                    <a:pt x="1412607" y="8677831"/>
                    <a:pt x="1344027" y="8677831"/>
                  </a:cubicBezTo>
                  <a:close/>
                </a:path>
              </a:pathLst>
            </a:custGeom>
            <a:solidFill>
              <a:srgbClr val="004AAD"/>
            </a:solidFill>
          </p:spPr>
        </p:sp>
      </p:grpSp>
      <p:grpSp>
        <p:nvGrpSpPr>
          <p:cNvPr id="12" name="Group 12"/>
          <p:cNvGrpSpPr/>
          <p:nvPr/>
        </p:nvGrpSpPr>
        <p:grpSpPr>
          <a:xfrm>
            <a:off x="5189929" y="4135692"/>
            <a:ext cx="847666" cy="4107614"/>
            <a:chOff x="0" y="0"/>
            <a:chExt cx="1468487" cy="5647527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1468487" cy="5647527"/>
            </a:xfrm>
            <a:custGeom>
              <a:avLst/>
              <a:gdLst/>
              <a:ahLst/>
              <a:cxnLst/>
              <a:rect l="l" t="t" r="r" b="b"/>
              <a:pathLst>
                <a:path w="1468487" h="5647527">
                  <a:moveTo>
                    <a:pt x="1344027" y="5647527"/>
                  </a:moveTo>
                  <a:lnTo>
                    <a:pt x="124460" y="5647527"/>
                  </a:lnTo>
                  <a:cubicBezTo>
                    <a:pt x="55880" y="5647527"/>
                    <a:pt x="0" y="5591647"/>
                    <a:pt x="0" y="5523067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5523067"/>
                  </a:lnTo>
                  <a:cubicBezTo>
                    <a:pt x="1468487" y="5591647"/>
                    <a:pt x="1412607" y="5647527"/>
                    <a:pt x="1344027" y="5647527"/>
                  </a:cubicBezTo>
                  <a:close/>
                </a:path>
              </a:pathLst>
            </a:custGeom>
            <a:solidFill>
              <a:srgbClr val="176294"/>
            </a:solidFill>
          </p:spPr>
        </p:sp>
      </p:grpSp>
      <p:grpSp>
        <p:nvGrpSpPr>
          <p:cNvPr id="14" name="Group 14"/>
          <p:cNvGrpSpPr/>
          <p:nvPr/>
        </p:nvGrpSpPr>
        <p:grpSpPr>
          <a:xfrm>
            <a:off x="9450673" y="4874135"/>
            <a:ext cx="847666" cy="3369170"/>
            <a:chOff x="0" y="0"/>
            <a:chExt cx="1468487" cy="6958513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1468487" cy="6958513"/>
            </a:xfrm>
            <a:custGeom>
              <a:avLst/>
              <a:gdLst/>
              <a:ahLst/>
              <a:cxnLst/>
              <a:rect l="l" t="t" r="r" b="b"/>
              <a:pathLst>
                <a:path w="1468487" h="6958513">
                  <a:moveTo>
                    <a:pt x="1344027" y="6958513"/>
                  </a:moveTo>
                  <a:lnTo>
                    <a:pt x="124460" y="6958513"/>
                  </a:lnTo>
                  <a:cubicBezTo>
                    <a:pt x="55880" y="6958513"/>
                    <a:pt x="0" y="6902633"/>
                    <a:pt x="0" y="6834053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6834053"/>
                  </a:lnTo>
                  <a:cubicBezTo>
                    <a:pt x="1468487" y="6902633"/>
                    <a:pt x="1412607" y="6958513"/>
                    <a:pt x="1344027" y="6958513"/>
                  </a:cubicBezTo>
                  <a:close/>
                </a:path>
              </a:pathLst>
            </a:custGeom>
            <a:solidFill>
              <a:srgbClr val="176294"/>
            </a:solidFill>
          </p:spPr>
        </p:sp>
      </p:grpSp>
      <p:pic>
        <p:nvPicPr>
          <p:cNvPr id="16" name="Picture 16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>
          <a:xfrm>
            <a:off x="15763046" y="223667"/>
            <a:ext cx="2144842" cy="1135873"/>
          </a:xfrm>
          <a:prstGeom prst="rect">
            <a:avLst/>
          </a:prstGeom>
        </p:spPr>
      </p:pic>
      <p:sp>
        <p:nvSpPr>
          <p:cNvPr id="17" name="TextBox 17"/>
          <p:cNvSpPr txBox="1"/>
          <p:nvPr/>
        </p:nvSpPr>
        <p:spPr>
          <a:xfrm>
            <a:off x="5942806" y="90773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3132394" y="8741482"/>
            <a:ext cx="94257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2018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5193953" y="8741482"/>
            <a:ext cx="934530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2019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7316216" y="8741482"/>
            <a:ext cx="1026473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2020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9417218" y="8741482"/>
            <a:ext cx="914576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2021</a:t>
            </a:r>
          </a:p>
        </p:txBody>
      </p:sp>
      <p:sp>
        <p:nvSpPr>
          <p:cNvPr id="22" name="TextBox 22"/>
          <p:cNvSpPr txBox="1"/>
          <p:nvPr/>
        </p:nvSpPr>
        <p:spPr>
          <a:xfrm>
            <a:off x="11331540" y="8741482"/>
            <a:ext cx="993731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13538A"/>
                </a:solidFill>
                <a:latin typeface="Montserrat Extra-Bold"/>
              </a:rPr>
              <a:t>2022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13198433" y="8741482"/>
            <a:ext cx="1032425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13538A"/>
                </a:solidFill>
                <a:latin typeface="Montserrat Extra-Bold"/>
              </a:rPr>
              <a:t>2023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15158139" y="8741482"/>
            <a:ext cx="1032426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2024</a:t>
            </a:r>
          </a:p>
        </p:txBody>
      </p:sp>
      <p:sp>
        <p:nvSpPr>
          <p:cNvPr id="25" name="TextBox 25"/>
          <p:cNvSpPr txBox="1"/>
          <p:nvPr/>
        </p:nvSpPr>
        <p:spPr>
          <a:xfrm rot="-5400000">
            <a:off x="-2138640" y="5108324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13538A"/>
                </a:solidFill>
                <a:latin typeface="Montserrat Extra-Bold"/>
              </a:rPr>
              <a:t>МЛН. РУБ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5923756" y="643381"/>
            <a:ext cx="6565856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2C92D5"/>
                </a:solidFill>
                <a:latin typeface="Montserrat Extra-Bold"/>
              </a:rPr>
              <a:t>Муниципальный долг города</a:t>
            </a:r>
          </a:p>
        </p:txBody>
      </p:sp>
      <p:grpSp>
        <p:nvGrpSpPr>
          <p:cNvPr id="27" name="Group 27"/>
          <p:cNvGrpSpPr>
            <a:grpSpLocks noChangeAspect="1"/>
          </p:cNvGrpSpPr>
          <p:nvPr/>
        </p:nvGrpSpPr>
        <p:grpSpPr>
          <a:xfrm>
            <a:off x="16324163" y="9011479"/>
            <a:ext cx="3927674" cy="3927674"/>
            <a:chOff x="0" y="0"/>
            <a:chExt cx="6355080" cy="6355080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29" name="Group 29"/>
          <p:cNvGrpSpPr/>
          <p:nvPr/>
        </p:nvGrpSpPr>
        <p:grpSpPr>
          <a:xfrm>
            <a:off x="352051" y="-121435"/>
            <a:ext cx="504017" cy="557766"/>
            <a:chOff x="0" y="0"/>
            <a:chExt cx="672023" cy="743688"/>
          </a:xfrm>
        </p:grpSpPr>
        <p:grpSp>
          <p:nvGrpSpPr>
            <p:cNvPr id="30" name="Group 30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31" name="Freeform 3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32" name="Group 32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33" name="Freeform 3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34" name="Group 34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35" name="Freeform 3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36" name="Group 36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37" name="Freeform 3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38" name="Group 38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39" name="Freeform 3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40" name="Group 40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41" name="Freeform 4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42" name="Group 42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43" name="Freeform 4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44" name="Group 44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45" name="Freeform 4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46" name="Group 46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47" name="Freeform 4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sp>
        <p:nvSpPr>
          <p:cNvPr id="48" name="AutoShape 48"/>
          <p:cNvSpPr/>
          <p:nvPr/>
        </p:nvSpPr>
        <p:spPr>
          <a:xfrm rot="-5400000">
            <a:off x="-1412605" y="5574682"/>
            <a:ext cx="5968369" cy="0"/>
          </a:xfrm>
          <a:prstGeom prst="line">
            <a:avLst/>
          </a:prstGeom>
          <a:ln w="47625" cap="rnd">
            <a:solidFill>
              <a:srgbClr val="000000">
                <a:alpha val="10980"/>
              </a:srgbClr>
            </a:solidFill>
            <a:prstDash val="solid"/>
            <a:headEnd type="none" w="sm" len="sm"/>
            <a:tailEnd type="none" w="sm" len="sm"/>
          </a:ln>
        </p:spPr>
      </p:sp>
      <p:sp>
        <p:nvSpPr>
          <p:cNvPr id="49" name="AutoShape 49"/>
          <p:cNvSpPr/>
          <p:nvPr/>
        </p:nvSpPr>
        <p:spPr>
          <a:xfrm rot="12278">
            <a:off x="1633527" y="8558867"/>
            <a:ext cx="15711480" cy="0"/>
          </a:xfrm>
          <a:prstGeom prst="line">
            <a:avLst/>
          </a:prstGeom>
          <a:ln w="47625" cap="rnd">
            <a:solidFill>
              <a:srgbClr val="000000">
                <a:alpha val="10980"/>
              </a:srgbClr>
            </a:solidFill>
            <a:prstDash val="solid"/>
            <a:headEnd type="none" w="sm" len="sm"/>
            <a:tailEnd type="none" w="sm" len="sm"/>
          </a:ln>
        </p:spPr>
      </p:sp>
      <p:sp>
        <p:nvSpPr>
          <p:cNvPr id="50" name="TextBox 50"/>
          <p:cNvSpPr txBox="1"/>
          <p:nvPr/>
        </p:nvSpPr>
        <p:spPr>
          <a:xfrm rot="-5400000">
            <a:off x="2788078" y="6535629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4000" dirty="0" smtClean="0">
                <a:solidFill>
                  <a:srgbClr val="FFFFFF"/>
                </a:solidFill>
                <a:latin typeface="Montserrat Extra-Bold"/>
              </a:rPr>
              <a:t>310</a:t>
            </a:r>
            <a:endParaRPr lang="en-US" sz="4000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51" name="TextBox 51"/>
          <p:cNvSpPr txBox="1"/>
          <p:nvPr/>
        </p:nvSpPr>
        <p:spPr>
          <a:xfrm rot="-5400000">
            <a:off x="4899702" y="6097729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4000" dirty="0" smtClean="0">
                <a:solidFill>
                  <a:srgbClr val="FFFFFF"/>
                </a:solidFill>
                <a:latin typeface="Montserrat Extra-Bold"/>
              </a:rPr>
              <a:t>340</a:t>
            </a:r>
            <a:endParaRPr lang="en-US" sz="4000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52" name="TextBox 52"/>
          <p:cNvSpPr txBox="1"/>
          <p:nvPr/>
        </p:nvSpPr>
        <p:spPr>
          <a:xfrm rot="-5400000">
            <a:off x="7101701" y="6276590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4000" dirty="0" smtClean="0">
                <a:solidFill>
                  <a:srgbClr val="FFFFFF"/>
                </a:solidFill>
                <a:latin typeface="Montserrat Extra-Bold"/>
              </a:rPr>
              <a:t>280</a:t>
            </a:r>
            <a:endParaRPr lang="en-US" sz="4000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53" name="TextBox 53"/>
          <p:cNvSpPr txBox="1"/>
          <p:nvPr/>
        </p:nvSpPr>
        <p:spPr>
          <a:xfrm rot="-5400000">
            <a:off x="9140729" y="6276589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4000" dirty="0" smtClean="0">
                <a:solidFill>
                  <a:srgbClr val="FFFFFF"/>
                </a:solidFill>
                <a:latin typeface="Montserrat Extra-Bold"/>
              </a:rPr>
              <a:t>280</a:t>
            </a:r>
            <a:endParaRPr lang="en-US" sz="4000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54" name="TextBox 54"/>
          <p:cNvSpPr txBox="1"/>
          <p:nvPr/>
        </p:nvSpPr>
        <p:spPr>
          <a:xfrm rot="-5400000">
            <a:off x="11076729" y="5338807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4000" dirty="0" smtClean="0">
                <a:solidFill>
                  <a:srgbClr val="FFFFFF"/>
                </a:solidFill>
                <a:latin typeface="Montserrat Extra-Bold"/>
              </a:rPr>
              <a:t>383</a:t>
            </a:r>
            <a:endParaRPr lang="en-US" sz="4000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55" name="TextBox 55"/>
          <p:cNvSpPr txBox="1"/>
          <p:nvPr/>
        </p:nvSpPr>
        <p:spPr>
          <a:xfrm rot="-5400000">
            <a:off x="12988133" y="5848647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4000" dirty="0" smtClean="0">
                <a:solidFill>
                  <a:srgbClr val="FFFFFF"/>
                </a:solidFill>
                <a:latin typeface="Montserrat Extra-Bold"/>
              </a:rPr>
              <a:t>425</a:t>
            </a:r>
            <a:endParaRPr lang="en-US" sz="4000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56" name="TextBox 56"/>
          <p:cNvSpPr txBox="1"/>
          <p:nvPr/>
        </p:nvSpPr>
        <p:spPr>
          <a:xfrm rot="-5400000">
            <a:off x="14927285" y="5014000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4000" dirty="0" smtClean="0">
                <a:solidFill>
                  <a:srgbClr val="FFFFFF"/>
                </a:solidFill>
                <a:latin typeface="Montserrat Extra-Bold"/>
              </a:rPr>
              <a:t>414</a:t>
            </a:r>
            <a:endParaRPr lang="en-US" sz="4000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57" name="AutoShape 57"/>
          <p:cNvSpPr/>
          <p:nvPr/>
        </p:nvSpPr>
        <p:spPr>
          <a:xfrm rot="-968420">
            <a:off x="3425277" y="5702833"/>
            <a:ext cx="2280893" cy="0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58" name="AutoShape 58"/>
          <p:cNvSpPr/>
          <p:nvPr/>
        </p:nvSpPr>
        <p:spPr>
          <a:xfrm rot="-649446">
            <a:off x="5725104" y="5194531"/>
            <a:ext cx="1831552" cy="751493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60" name="AutoShape 60"/>
          <p:cNvSpPr/>
          <p:nvPr/>
        </p:nvSpPr>
        <p:spPr>
          <a:xfrm rot="-665604" flipV="1">
            <a:off x="9806811" y="5024210"/>
            <a:ext cx="2076358" cy="548522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61" name="AutoShape 61"/>
          <p:cNvSpPr/>
          <p:nvPr/>
        </p:nvSpPr>
        <p:spPr>
          <a:xfrm rot="-665604" flipV="1">
            <a:off x="11757286" y="4409516"/>
            <a:ext cx="2098185" cy="228565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62" name="AutoShape 62"/>
          <p:cNvSpPr/>
          <p:nvPr/>
        </p:nvSpPr>
        <p:spPr>
          <a:xfrm rot="-665604">
            <a:off x="13846492" y="4027986"/>
            <a:ext cx="1825847" cy="658595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63" name="TextBox 42"/>
          <p:cNvSpPr txBox="1"/>
          <p:nvPr/>
        </p:nvSpPr>
        <p:spPr>
          <a:xfrm>
            <a:off x="5870766" y="4754119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C00000"/>
                </a:solidFill>
                <a:latin typeface="Montserrat Extra-Bold"/>
              </a:rPr>
              <a:t>-</a:t>
            </a:r>
            <a:r>
              <a:rPr lang="en-US" sz="3147" dirty="0" smtClean="0">
                <a:solidFill>
                  <a:srgbClr val="C00000"/>
                </a:solidFill>
                <a:latin typeface="Montserrat Extra-Bold"/>
              </a:rPr>
              <a:t>60</a:t>
            </a:r>
            <a:endParaRPr lang="en-US" sz="3147" dirty="0">
              <a:solidFill>
                <a:srgbClr val="C00000"/>
              </a:solidFill>
              <a:latin typeface="Montserrat Extra-Bold"/>
            </a:endParaRPr>
          </a:p>
        </p:txBody>
      </p:sp>
      <p:sp>
        <p:nvSpPr>
          <p:cNvPr id="59" name="AutoShape 59"/>
          <p:cNvSpPr/>
          <p:nvPr/>
        </p:nvSpPr>
        <p:spPr>
          <a:xfrm rot="-653479">
            <a:off x="7625626" y="5552547"/>
            <a:ext cx="2232874" cy="429632"/>
          </a:xfrm>
          <a:prstGeom prst="line">
            <a:avLst/>
          </a:prstGeom>
          <a:ln w="47625" cap="rnd">
            <a:solidFill>
              <a:srgbClr val="C00000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65" name="TextBox 42"/>
          <p:cNvSpPr txBox="1"/>
          <p:nvPr/>
        </p:nvSpPr>
        <p:spPr>
          <a:xfrm>
            <a:off x="3772418" y="6058402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 smtClean="0">
                <a:solidFill>
                  <a:srgbClr val="C00000"/>
                </a:solidFill>
                <a:latin typeface="Montserrat Extra-Bold"/>
              </a:rPr>
              <a:t>+30</a:t>
            </a:r>
            <a:endParaRPr lang="en-US" sz="3147" dirty="0">
              <a:solidFill>
                <a:srgbClr val="C00000"/>
              </a:solidFill>
              <a:latin typeface="Montserrat Extra-Bold"/>
            </a:endParaRPr>
          </a:p>
        </p:txBody>
      </p:sp>
      <p:graphicFrame>
        <p:nvGraphicFramePr>
          <p:cNvPr id="81" name="Диаграмма 80"/>
          <p:cNvGraphicFramePr/>
          <p:nvPr>
            <p:extLst>
              <p:ext uri="{D42A27DB-BD31-4B8C-83A1-F6EECF244321}">
                <p14:modId xmlns:p14="http://schemas.microsoft.com/office/powerpoint/2010/main" val="2379135677"/>
              </p:ext>
            </p:extLst>
          </p:nvPr>
        </p:nvGraphicFramePr>
        <p:xfrm>
          <a:off x="1869441" y="1079500"/>
          <a:ext cx="15475515" cy="81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2" name="Овал 81"/>
          <p:cNvSpPr/>
          <p:nvPr>
            <p:custDataLst>
              <p:tags r:id="rId1"/>
            </p:custDataLst>
          </p:nvPr>
        </p:nvSpPr>
        <p:spPr>
          <a:xfrm>
            <a:off x="2845972" y="1953142"/>
            <a:ext cx="683216" cy="683216"/>
          </a:xfrm>
          <a:prstGeom prst="ellipse">
            <a:avLst/>
          </a:prstGeom>
          <a:solidFill>
            <a:srgbClr val="687FB2"/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 smtClean="0">
                <a:latin typeface="Montserrat ExtraBold" panose="020B0604020202020204" charset="-52"/>
              </a:rPr>
              <a:t>35</a:t>
            </a:r>
            <a:endParaRPr lang="ru-RU" sz="2400" b="1" dirty="0">
              <a:latin typeface="Montserrat ExtraBold" panose="020B0604020202020204" charset="-52"/>
            </a:endParaRPr>
          </a:p>
        </p:txBody>
      </p:sp>
      <p:sp>
        <p:nvSpPr>
          <p:cNvPr id="83" name="Овал 82"/>
          <p:cNvSpPr/>
          <p:nvPr>
            <p:custDataLst>
              <p:tags r:id="rId2"/>
            </p:custDataLst>
          </p:nvPr>
        </p:nvSpPr>
        <p:spPr>
          <a:xfrm>
            <a:off x="4848321" y="1693445"/>
            <a:ext cx="683216" cy="683216"/>
          </a:xfrm>
          <a:prstGeom prst="ellipse">
            <a:avLst/>
          </a:prstGeom>
          <a:solidFill>
            <a:srgbClr val="687FB2"/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 smtClean="0">
                <a:latin typeface="Montserrat ExtraBold" panose="020B0604020202020204" charset="-52"/>
              </a:rPr>
              <a:t>36</a:t>
            </a:r>
            <a:endParaRPr lang="ru-RU" sz="2400" b="1" dirty="0">
              <a:latin typeface="Montserrat ExtraBold" panose="020B0604020202020204" charset="-52"/>
            </a:endParaRPr>
          </a:p>
        </p:txBody>
      </p:sp>
      <p:sp>
        <p:nvSpPr>
          <p:cNvPr id="84" name="Овал 83"/>
          <p:cNvSpPr/>
          <p:nvPr>
            <p:custDataLst>
              <p:tags r:id="rId3"/>
            </p:custDataLst>
          </p:nvPr>
        </p:nvSpPr>
        <p:spPr>
          <a:xfrm>
            <a:off x="7064012" y="3391947"/>
            <a:ext cx="683216" cy="683216"/>
          </a:xfrm>
          <a:prstGeom prst="ellipse">
            <a:avLst/>
          </a:prstGeom>
          <a:solidFill>
            <a:srgbClr val="687FB2"/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 smtClean="0">
                <a:latin typeface="Montserrat ExtraBold" panose="020B0604020202020204" charset="-52"/>
              </a:rPr>
              <a:t>27</a:t>
            </a:r>
            <a:endParaRPr lang="ru-RU" sz="2400" b="1" dirty="0">
              <a:latin typeface="Montserrat ExtraBold" panose="020B0604020202020204" charset="-52"/>
            </a:endParaRPr>
          </a:p>
        </p:txBody>
      </p:sp>
      <p:sp>
        <p:nvSpPr>
          <p:cNvPr id="85" name="Овал 84"/>
          <p:cNvSpPr/>
          <p:nvPr>
            <p:custDataLst>
              <p:tags r:id="rId4"/>
            </p:custDataLst>
          </p:nvPr>
        </p:nvSpPr>
        <p:spPr>
          <a:xfrm>
            <a:off x="9275649" y="3699749"/>
            <a:ext cx="683216" cy="683216"/>
          </a:xfrm>
          <a:prstGeom prst="ellipse">
            <a:avLst/>
          </a:prstGeom>
          <a:solidFill>
            <a:srgbClr val="687FB2"/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 smtClean="0">
                <a:latin typeface="Montserrat ExtraBold" panose="020B0604020202020204" charset="-52"/>
              </a:rPr>
              <a:t>25</a:t>
            </a:r>
            <a:endParaRPr lang="ru-RU" sz="2400" b="1" dirty="0">
              <a:latin typeface="Montserrat ExtraBold" panose="020B0604020202020204" charset="-52"/>
            </a:endParaRPr>
          </a:p>
        </p:txBody>
      </p:sp>
      <p:sp>
        <p:nvSpPr>
          <p:cNvPr id="86" name="Овал 85"/>
          <p:cNvSpPr/>
          <p:nvPr>
            <p:custDataLst>
              <p:tags r:id="rId5"/>
            </p:custDataLst>
          </p:nvPr>
        </p:nvSpPr>
        <p:spPr>
          <a:xfrm>
            <a:off x="11486797" y="2103503"/>
            <a:ext cx="683216" cy="683216"/>
          </a:xfrm>
          <a:prstGeom prst="ellipse">
            <a:avLst/>
          </a:prstGeom>
          <a:solidFill>
            <a:srgbClr val="687FB2"/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 smtClean="0">
                <a:latin typeface="Montserrat ExtraBold" panose="020B0604020202020204" charset="-52"/>
              </a:rPr>
              <a:t>34</a:t>
            </a:r>
            <a:endParaRPr lang="ru-RU" sz="2400" b="1" dirty="0">
              <a:latin typeface="Montserrat ExtraBold" panose="020B0604020202020204" charset="-52"/>
            </a:endParaRPr>
          </a:p>
        </p:txBody>
      </p:sp>
      <p:sp>
        <p:nvSpPr>
          <p:cNvPr id="87" name="Овал 86"/>
          <p:cNvSpPr/>
          <p:nvPr>
            <p:custDataLst>
              <p:tags r:id="rId6"/>
            </p:custDataLst>
          </p:nvPr>
        </p:nvSpPr>
        <p:spPr>
          <a:xfrm>
            <a:off x="13489146" y="1497075"/>
            <a:ext cx="683216" cy="683216"/>
          </a:xfrm>
          <a:prstGeom prst="ellipse">
            <a:avLst/>
          </a:prstGeom>
          <a:solidFill>
            <a:srgbClr val="687FB2"/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 smtClean="0">
                <a:latin typeface="Montserrat ExtraBold" panose="020B0604020202020204" charset="-52"/>
              </a:rPr>
              <a:t>37</a:t>
            </a:r>
            <a:endParaRPr lang="ru-RU" sz="2400" b="1" dirty="0">
              <a:latin typeface="Montserrat ExtraBold" panose="020B0604020202020204" charset="-52"/>
            </a:endParaRPr>
          </a:p>
        </p:txBody>
      </p:sp>
      <p:sp>
        <p:nvSpPr>
          <p:cNvPr id="88" name="Овал 87"/>
          <p:cNvSpPr/>
          <p:nvPr>
            <p:custDataLst>
              <p:tags r:id="rId7"/>
            </p:custDataLst>
          </p:nvPr>
        </p:nvSpPr>
        <p:spPr>
          <a:xfrm>
            <a:off x="15640947" y="1623914"/>
            <a:ext cx="683216" cy="683216"/>
          </a:xfrm>
          <a:prstGeom prst="ellipse">
            <a:avLst/>
          </a:prstGeom>
          <a:solidFill>
            <a:srgbClr val="687FB2"/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 smtClean="0">
                <a:latin typeface="Montserrat ExtraBold" panose="020B0604020202020204" charset="-52"/>
              </a:rPr>
              <a:t>36</a:t>
            </a:r>
            <a:endParaRPr lang="ru-RU" sz="2400" b="1" dirty="0">
              <a:latin typeface="Montserrat ExtraBold" panose="020B0604020202020204" charset="-5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664700" y="233502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5360328" y="7051152"/>
            <a:ext cx="5602797" cy="5602797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253704" y="-111600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pic>
        <p:nvPicPr>
          <p:cNvPr id="24" name="Picture 2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222521" y="1345989"/>
            <a:ext cx="9524379" cy="8941011"/>
          </a:xfrm>
          <a:prstGeom prst="rect">
            <a:avLst/>
          </a:prstGeom>
        </p:spPr>
      </p:pic>
      <p:sp>
        <p:nvSpPr>
          <p:cNvPr id="25" name="TextBox 25"/>
          <p:cNvSpPr txBox="1"/>
          <p:nvPr/>
        </p:nvSpPr>
        <p:spPr>
          <a:xfrm>
            <a:off x="5844460" y="100607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2743200" y="653216"/>
            <a:ext cx="12548285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2C92D5"/>
                </a:solidFill>
                <a:latin typeface="Montserrat Extra-Bold"/>
              </a:rPr>
              <a:t>Общий объем софинансирования расходов в 2022 году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5844460" y="3131546"/>
            <a:ext cx="1907425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000000"/>
                </a:solidFill>
                <a:latin typeface="Montserrat Extra-Bold"/>
              </a:rPr>
              <a:t>2020 год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10237486" y="3023365"/>
            <a:ext cx="1795529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000000"/>
                </a:solidFill>
                <a:latin typeface="Montserrat Extra-Bold"/>
              </a:rPr>
              <a:t>2021 год</a:t>
            </a:r>
          </a:p>
        </p:txBody>
      </p:sp>
      <p:sp>
        <p:nvSpPr>
          <p:cNvPr id="29" name="TextBox 29"/>
          <p:cNvSpPr txBox="1"/>
          <p:nvPr/>
        </p:nvSpPr>
        <p:spPr>
          <a:xfrm>
            <a:off x="7913199" y="6917884"/>
            <a:ext cx="1945772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000000"/>
                </a:solidFill>
                <a:latin typeface="Montserrat Extra-Bold"/>
              </a:rPr>
              <a:t>2022 год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5995400" y="3341790"/>
            <a:ext cx="1554816" cy="16423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3425"/>
              </a:lnSpc>
              <a:spcBef>
                <a:spcPct val="0"/>
              </a:spcBef>
            </a:pPr>
            <a:r>
              <a:rPr lang="en-US" sz="9589" dirty="0">
                <a:solidFill>
                  <a:srgbClr val="000000"/>
                </a:solidFill>
                <a:latin typeface="Montserrat Extra-Bold"/>
              </a:rPr>
              <a:t>73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10342890" y="3233609"/>
            <a:ext cx="1554816" cy="16423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3425"/>
              </a:lnSpc>
              <a:spcBef>
                <a:spcPct val="0"/>
              </a:spcBef>
            </a:pPr>
            <a:r>
              <a:rPr lang="en-US" sz="9589" dirty="0">
                <a:solidFill>
                  <a:srgbClr val="000000"/>
                </a:solidFill>
                <a:latin typeface="Montserrat Extra-Bold"/>
              </a:rPr>
              <a:t>36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7823159" y="7203316"/>
            <a:ext cx="2108554" cy="129403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0575"/>
              </a:lnSpc>
              <a:spcBef>
                <a:spcPct val="0"/>
              </a:spcBef>
            </a:pPr>
            <a:r>
              <a:rPr lang="en-US" sz="7554" dirty="0" smtClean="0">
                <a:solidFill>
                  <a:srgbClr val="000000"/>
                </a:solidFill>
                <a:latin typeface="Montserrat Extra-Bold"/>
              </a:rPr>
              <a:t>5</a:t>
            </a:r>
            <a:r>
              <a:rPr lang="ru-RU" sz="7554" dirty="0" smtClean="0">
                <a:solidFill>
                  <a:srgbClr val="000000"/>
                </a:solidFill>
                <a:latin typeface="Montserrat Extra-Bold"/>
              </a:rPr>
              <a:t>4</a:t>
            </a:r>
            <a:r>
              <a:rPr lang="en-US" sz="7554" dirty="0" smtClean="0">
                <a:solidFill>
                  <a:srgbClr val="000000"/>
                </a:solidFill>
                <a:latin typeface="Montserrat Extra-Bold"/>
              </a:rPr>
              <a:t>,5</a:t>
            </a:r>
            <a:endParaRPr lang="en-US" sz="7554" dirty="0">
              <a:solidFill>
                <a:srgbClr val="000000"/>
              </a:solidFill>
              <a:latin typeface="Montserrat Extra-Bold"/>
            </a:endParaRPr>
          </a:p>
        </p:txBody>
      </p:sp>
      <p:sp>
        <p:nvSpPr>
          <p:cNvPr id="33" name="TextBox 33"/>
          <p:cNvSpPr txBox="1"/>
          <p:nvPr/>
        </p:nvSpPr>
        <p:spPr>
          <a:xfrm>
            <a:off x="7913199" y="4926981"/>
            <a:ext cx="2108554" cy="50474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112"/>
              </a:lnSpc>
              <a:spcBef>
                <a:spcPct val="0"/>
              </a:spcBef>
            </a:pPr>
            <a:r>
              <a:rPr lang="en-US" sz="2937" dirty="0">
                <a:solidFill>
                  <a:srgbClr val="000000"/>
                </a:solidFill>
                <a:latin typeface="Montserrat Extra-Bold"/>
              </a:rPr>
              <a:t>МЛН. РУБ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664700" y="233502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5360328" y="7051152"/>
            <a:ext cx="5602797" cy="5602797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253704" y="-111600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sp>
        <p:nvSpPr>
          <p:cNvPr id="25" name="TextBox 25"/>
          <p:cNvSpPr txBox="1"/>
          <p:nvPr/>
        </p:nvSpPr>
        <p:spPr>
          <a:xfrm>
            <a:off x="5844460" y="100607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2743200" y="545584"/>
            <a:ext cx="12548285" cy="10871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>
                <a:solidFill>
                  <a:srgbClr val="2C92D5"/>
                </a:solidFill>
                <a:latin typeface="Montserrat Extra-Bold"/>
              </a:rPr>
              <a:t>Основные характеристики бюджета города</a:t>
            </a:r>
          </a:p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>
                <a:solidFill>
                  <a:srgbClr val="2C92D5"/>
                </a:solidFill>
                <a:latin typeface="Montserrat Extra-Bold"/>
              </a:rPr>
              <a:t>на 2020 – 2024 годы</a:t>
            </a:r>
            <a:endParaRPr lang="en-US" sz="3147" dirty="0">
              <a:solidFill>
                <a:srgbClr val="2C92D5"/>
              </a:solidFill>
              <a:latin typeface="Montserrat Extra-Bold"/>
            </a:endParaRPr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xmlns="" id="{E2AE030B-8ADB-4F3C-AEA2-D983DA1175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4188569"/>
              </p:ext>
            </p:extLst>
          </p:nvPr>
        </p:nvGraphicFramePr>
        <p:xfrm>
          <a:off x="1219200" y="1691479"/>
          <a:ext cx="16383001" cy="7924800"/>
        </p:xfrm>
        <a:graphic>
          <a:graphicData uri="http://schemas.openxmlformats.org/drawingml/2006/table">
            <a:tbl>
              <a:tblPr/>
              <a:tblGrid>
                <a:gridCol w="3947813">
                  <a:extLst>
                    <a:ext uri="{9D8B030D-6E8A-4147-A177-3AD203B41FA5}">
                      <a16:colId xmlns:a16="http://schemas.microsoft.com/office/drawing/2014/main" xmlns="" val="3411009841"/>
                    </a:ext>
                  </a:extLst>
                </a:gridCol>
                <a:gridCol w="1890393">
                  <a:extLst>
                    <a:ext uri="{9D8B030D-6E8A-4147-A177-3AD203B41FA5}">
                      <a16:colId xmlns:a16="http://schemas.microsoft.com/office/drawing/2014/main" xmlns="" val="2799171972"/>
                    </a:ext>
                  </a:extLst>
                </a:gridCol>
                <a:gridCol w="2108959">
                  <a:extLst>
                    <a:ext uri="{9D8B030D-6E8A-4147-A177-3AD203B41FA5}">
                      <a16:colId xmlns:a16="http://schemas.microsoft.com/office/drawing/2014/main" xmlns="" val="3684130124"/>
                    </a:ext>
                  </a:extLst>
                </a:gridCol>
                <a:gridCol w="2108959">
                  <a:extLst>
                    <a:ext uri="{9D8B030D-6E8A-4147-A177-3AD203B41FA5}">
                      <a16:colId xmlns:a16="http://schemas.microsoft.com/office/drawing/2014/main" xmlns="" val="2418614573"/>
                    </a:ext>
                  </a:extLst>
                </a:gridCol>
                <a:gridCol w="2108959">
                  <a:extLst>
                    <a:ext uri="{9D8B030D-6E8A-4147-A177-3AD203B41FA5}">
                      <a16:colId xmlns:a16="http://schemas.microsoft.com/office/drawing/2014/main" xmlns="" val="3337420284"/>
                    </a:ext>
                  </a:extLst>
                </a:gridCol>
                <a:gridCol w="2108959">
                  <a:extLst>
                    <a:ext uri="{9D8B030D-6E8A-4147-A177-3AD203B41FA5}">
                      <a16:colId xmlns:a16="http://schemas.microsoft.com/office/drawing/2014/main" xmlns="" val="2818638986"/>
                    </a:ext>
                  </a:extLst>
                </a:gridCol>
                <a:gridCol w="2108959">
                  <a:extLst>
                    <a:ext uri="{9D8B030D-6E8A-4147-A177-3AD203B41FA5}">
                      <a16:colId xmlns:a16="http://schemas.microsoft.com/office/drawing/2014/main" xmlns="" val="2421758954"/>
                    </a:ext>
                  </a:extLst>
                </a:gridCol>
              </a:tblGrid>
              <a:tr h="2084177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Montserrat ExtraBold" panose="00000900000000000000" pitchFamily="2" charset="-52"/>
                        </a:rPr>
                        <a:t> </a:t>
                      </a:r>
                    </a:p>
                  </a:txBody>
                  <a:tcPr marL="5708" marR="5708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2020 </a:t>
                      </a:r>
                      <a: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год</a:t>
                      </a:r>
                      <a:b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</a:br>
                      <a: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(отчет)</a:t>
                      </a: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2021 год </a:t>
                      </a:r>
                      <a: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/>
                      </a:r>
                      <a:b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</a:br>
                      <a:r>
                        <a:rPr lang="ru-RU" sz="2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(первона-</a:t>
                      </a:r>
                    </a:p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чальный)</a:t>
                      </a:r>
                      <a:endParaRPr lang="ru-RU" sz="2400" b="1" i="0" u="none" strike="noStrik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2021 </a:t>
                      </a:r>
                      <a: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год</a:t>
                      </a:r>
                      <a:b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</a:br>
                      <a: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(оценка)</a:t>
                      </a: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2022 </a:t>
                      </a:r>
                      <a: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год </a:t>
                      </a:r>
                      <a:b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</a:br>
                      <a: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(проект)</a:t>
                      </a: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2023 </a:t>
                      </a:r>
                      <a: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год </a:t>
                      </a:r>
                      <a:b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</a:br>
                      <a: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(проект)</a:t>
                      </a: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b="1" i="0" u="none" strike="noStrik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2024 </a:t>
                      </a:r>
                      <a: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год </a:t>
                      </a:r>
                      <a:b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</a:br>
                      <a: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(проект)</a:t>
                      </a:r>
                    </a:p>
                    <a:p>
                      <a:pPr algn="ctr" fontAlgn="b">
                        <a:lnSpc>
                          <a:spcPct val="100000"/>
                        </a:lnSpc>
                      </a:pPr>
                      <a:endParaRPr lang="ru-RU" sz="2400" b="1" i="0" u="none" strike="noStrik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34204071"/>
                  </a:ext>
                </a:extLst>
              </a:tr>
              <a:tr h="1372028">
                <a:tc>
                  <a:txBody>
                    <a:bodyPr/>
                    <a:lstStyle/>
                    <a:p>
                      <a:pPr algn="l" fontAlgn="b"/>
                      <a:r>
                        <a:rPr lang="ru-RU" sz="28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Доходы, из них:</a:t>
                      </a: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03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3562,3</a:t>
                      </a:r>
                      <a:endParaRPr lang="ru-RU" sz="28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3630,3</a:t>
                      </a:r>
                      <a:endParaRPr lang="ru-RU" sz="28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3878,7</a:t>
                      </a:r>
                      <a:endParaRPr lang="ru-RU" sz="28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3492,3</a:t>
                      </a:r>
                      <a:endParaRPr lang="ru-RU" sz="28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3536,5</a:t>
                      </a:r>
                      <a:endParaRPr lang="ru-RU" sz="28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3284,6</a:t>
                      </a:r>
                      <a:endParaRPr lang="ru-RU" sz="28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80608013"/>
                  </a:ext>
                </a:extLst>
              </a:tr>
              <a:tr h="1140085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налоговые и неналоговые</a:t>
                      </a: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4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1035,0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4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1028,4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4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1140,0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4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1116,3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4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1136,4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4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1160,9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4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8051792"/>
                  </a:ext>
                </a:extLst>
              </a:tr>
              <a:tr h="89181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2400" b="1" i="0" u="none" strike="noStrike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  <a:ea typeface="+mn-ea"/>
                          <a:cs typeface="+mn-cs"/>
                        </a:rPr>
                        <a:t>дотации</a:t>
                      </a: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4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83,0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4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35,2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4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42,5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4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3,1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4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0,0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4D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0,0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4D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42377877"/>
                  </a:ext>
                </a:extLst>
              </a:tr>
              <a:tr h="1029020">
                <a:tc>
                  <a:txBody>
                    <a:bodyPr/>
                    <a:lstStyle/>
                    <a:p>
                      <a:pPr algn="l" fontAlgn="b"/>
                      <a:r>
                        <a:rPr lang="ru-RU" sz="28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Расходы</a:t>
                      </a: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3487,9</a:t>
                      </a:r>
                      <a:endParaRPr lang="ru-RU" sz="28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3628,3</a:t>
                      </a:r>
                      <a:endParaRPr lang="ru-RU" sz="28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4039,5</a:t>
                      </a:r>
                      <a:endParaRPr lang="ru-RU" sz="28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3595,4</a:t>
                      </a:r>
                      <a:endParaRPr lang="ru-RU" sz="28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3578,2</a:t>
                      </a:r>
                      <a:endParaRPr lang="ru-RU" sz="28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3274,2</a:t>
                      </a:r>
                      <a:endParaRPr lang="ru-RU" sz="28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45636183"/>
                  </a:ext>
                </a:extLst>
              </a:tr>
              <a:tr h="1407672">
                <a:tc>
                  <a:txBody>
                    <a:bodyPr/>
                    <a:lstStyle/>
                    <a:p>
                      <a:pPr algn="l" fontAlgn="b"/>
                      <a:r>
                        <a:rPr lang="ru-RU" sz="28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Дефицит</a:t>
                      </a:r>
                      <a:r>
                        <a:rPr lang="ru-RU" sz="2800" b="1" i="0" u="none" strike="noStrike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 (-)</a:t>
                      </a:r>
                    </a:p>
                    <a:p>
                      <a:pPr algn="l" fontAlgn="b"/>
                      <a:r>
                        <a:rPr lang="ru-RU" sz="2800" b="1" i="0" u="none" strike="noStrike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Профицит (+)</a:t>
                      </a:r>
                      <a:endParaRPr lang="ru-RU" sz="2800" b="1" i="0" u="none" strike="noStrik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0B6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+74,413</a:t>
                      </a:r>
                      <a:endParaRPr lang="ru-RU" sz="28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+2,021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kern="1200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  <a:ea typeface="+mn-ea"/>
                          <a:cs typeface="+mn-cs"/>
                        </a:rPr>
                        <a:t>-160,862</a:t>
                      </a:r>
                      <a:endParaRPr lang="ru-RU" sz="2800" b="1" i="0" u="none" strike="noStrike" kern="1200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  <a:ea typeface="+mn-ea"/>
                        <a:cs typeface="+mn-cs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-103,076</a:t>
                      </a:r>
                      <a:endParaRPr lang="ru-RU" sz="28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-41,762</a:t>
                      </a:r>
                      <a:endParaRPr lang="ru-RU" sz="28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i="0" u="none" strike="noStrike" dirty="0" smtClean="0">
                          <a:solidFill>
                            <a:schemeClr val="tx1"/>
                          </a:solidFill>
                          <a:latin typeface="Montserrat ExtraBold" panose="00000900000000000000" pitchFamily="2" charset="-52"/>
                        </a:rPr>
                        <a:t>+10,425</a:t>
                      </a:r>
                      <a:endParaRPr lang="ru-RU" sz="2800" b="1" i="0" u="none" strike="noStrike" dirty="0">
                        <a:solidFill>
                          <a:schemeClr val="tx1"/>
                        </a:solidFill>
                        <a:latin typeface="Montserrat ExtraBold" panose="00000900000000000000" pitchFamily="2" charset="-52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638376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6081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5189928" y="2951727"/>
            <a:ext cx="974585" cy="5262074"/>
            <a:chOff x="0" y="0"/>
            <a:chExt cx="1468487" cy="9115962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468487" cy="9115961"/>
            </a:xfrm>
            <a:custGeom>
              <a:avLst/>
              <a:gdLst/>
              <a:ahLst/>
              <a:cxnLst/>
              <a:rect l="l" t="t" r="r" b="b"/>
              <a:pathLst>
                <a:path w="1468487" h="9115961">
                  <a:moveTo>
                    <a:pt x="1344027" y="9115961"/>
                  </a:moveTo>
                  <a:lnTo>
                    <a:pt x="124460" y="9115961"/>
                  </a:lnTo>
                  <a:cubicBezTo>
                    <a:pt x="55880" y="9115961"/>
                    <a:pt x="0" y="9060082"/>
                    <a:pt x="0" y="899150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991502"/>
                  </a:lnTo>
                  <a:cubicBezTo>
                    <a:pt x="1468487" y="9060082"/>
                    <a:pt x="1412607" y="9115961"/>
                    <a:pt x="1344027" y="9115961"/>
                  </a:cubicBezTo>
                  <a:close/>
                </a:path>
              </a:pathLst>
            </a:custGeom>
            <a:solidFill>
              <a:srgbClr val="82DCF4">
                <a:alpha val="19608"/>
              </a:srgbClr>
            </a:solidFill>
          </p:spPr>
        </p:sp>
      </p:grpSp>
      <p:grpSp>
        <p:nvGrpSpPr>
          <p:cNvPr id="4" name="Group 4"/>
          <p:cNvGrpSpPr/>
          <p:nvPr/>
        </p:nvGrpSpPr>
        <p:grpSpPr>
          <a:xfrm>
            <a:off x="9398450" y="2997544"/>
            <a:ext cx="979367" cy="5095267"/>
            <a:chOff x="0" y="0"/>
            <a:chExt cx="1468487" cy="9115962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1468487" cy="9115961"/>
            </a:xfrm>
            <a:custGeom>
              <a:avLst/>
              <a:gdLst/>
              <a:ahLst/>
              <a:cxnLst/>
              <a:rect l="l" t="t" r="r" b="b"/>
              <a:pathLst>
                <a:path w="1468487" h="9115961">
                  <a:moveTo>
                    <a:pt x="1344027" y="9115961"/>
                  </a:moveTo>
                  <a:lnTo>
                    <a:pt x="124460" y="9115961"/>
                  </a:lnTo>
                  <a:cubicBezTo>
                    <a:pt x="55880" y="9115961"/>
                    <a:pt x="0" y="9060082"/>
                    <a:pt x="0" y="899150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991502"/>
                  </a:lnTo>
                  <a:cubicBezTo>
                    <a:pt x="1468487" y="9060082"/>
                    <a:pt x="1412607" y="9115961"/>
                    <a:pt x="1344027" y="9115961"/>
                  </a:cubicBezTo>
                  <a:close/>
                </a:path>
              </a:pathLst>
            </a:custGeom>
            <a:solidFill>
              <a:srgbClr val="82DCF4">
                <a:alpha val="19608"/>
              </a:srgbClr>
            </a:solidFill>
          </p:spPr>
        </p:sp>
      </p:grpSp>
      <p:grpSp>
        <p:nvGrpSpPr>
          <p:cNvPr id="6" name="Group 6"/>
          <p:cNvGrpSpPr/>
          <p:nvPr/>
        </p:nvGrpSpPr>
        <p:grpSpPr>
          <a:xfrm>
            <a:off x="3132394" y="4649953"/>
            <a:ext cx="933766" cy="3563847"/>
            <a:chOff x="0" y="0"/>
            <a:chExt cx="1468487" cy="9115962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1468487" cy="9115961"/>
            </a:xfrm>
            <a:custGeom>
              <a:avLst/>
              <a:gdLst/>
              <a:ahLst/>
              <a:cxnLst/>
              <a:rect l="l" t="t" r="r" b="b"/>
              <a:pathLst>
                <a:path w="1468487" h="9115961">
                  <a:moveTo>
                    <a:pt x="1344027" y="9115961"/>
                  </a:moveTo>
                  <a:lnTo>
                    <a:pt x="124460" y="9115961"/>
                  </a:lnTo>
                  <a:cubicBezTo>
                    <a:pt x="55880" y="9115961"/>
                    <a:pt x="0" y="9060082"/>
                    <a:pt x="0" y="899150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991502"/>
                  </a:lnTo>
                  <a:cubicBezTo>
                    <a:pt x="1468487" y="9060082"/>
                    <a:pt x="1412607" y="9115961"/>
                    <a:pt x="1344027" y="9115961"/>
                  </a:cubicBezTo>
                  <a:close/>
                </a:path>
              </a:pathLst>
            </a:custGeom>
            <a:solidFill>
              <a:srgbClr val="82DCF4">
                <a:alpha val="19608"/>
              </a:srgbClr>
            </a:solidFill>
          </p:spPr>
        </p:sp>
      </p:grpSp>
      <p:grpSp>
        <p:nvGrpSpPr>
          <p:cNvPr id="8" name="Group 8"/>
          <p:cNvGrpSpPr/>
          <p:nvPr/>
        </p:nvGrpSpPr>
        <p:grpSpPr>
          <a:xfrm>
            <a:off x="7379621" y="3572285"/>
            <a:ext cx="960877" cy="4641516"/>
            <a:chOff x="0" y="0"/>
            <a:chExt cx="1468487" cy="9115962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1468487" cy="9115961"/>
            </a:xfrm>
            <a:custGeom>
              <a:avLst/>
              <a:gdLst/>
              <a:ahLst/>
              <a:cxnLst/>
              <a:rect l="l" t="t" r="r" b="b"/>
              <a:pathLst>
                <a:path w="1468487" h="9115961">
                  <a:moveTo>
                    <a:pt x="1344027" y="9115961"/>
                  </a:moveTo>
                  <a:lnTo>
                    <a:pt x="124460" y="9115961"/>
                  </a:lnTo>
                  <a:cubicBezTo>
                    <a:pt x="55880" y="9115961"/>
                    <a:pt x="0" y="9060082"/>
                    <a:pt x="0" y="899150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991502"/>
                  </a:lnTo>
                  <a:cubicBezTo>
                    <a:pt x="1468487" y="9060082"/>
                    <a:pt x="1412607" y="9115961"/>
                    <a:pt x="1344027" y="9115961"/>
                  </a:cubicBezTo>
                  <a:close/>
                </a:path>
              </a:pathLst>
            </a:custGeom>
            <a:solidFill>
              <a:srgbClr val="82DCF4">
                <a:alpha val="19608"/>
              </a:srgbClr>
            </a:solidFill>
          </p:spPr>
        </p:sp>
      </p:grpSp>
      <p:grpSp>
        <p:nvGrpSpPr>
          <p:cNvPr id="10" name="Group 10"/>
          <p:cNvGrpSpPr/>
          <p:nvPr/>
        </p:nvGrpSpPr>
        <p:grpSpPr>
          <a:xfrm>
            <a:off x="11405400" y="3713883"/>
            <a:ext cx="939794" cy="4499917"/>
            <a:chOff x="0" y="0"/>
            <a:chExt cx="1468487" cy="9115962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1468487" cy="9115961"/>
            </a:xfrm>
            <a:custGeom>
              <a:avLst/>
              <a:gdLst/>
              <a:ahLst/>
              <a:cxnLst/>
              <a:rect l="l" t="t" r="r" b="b"/>
              <a:pathLst>
                <a:path w="1468487" h="9115961">
                  <a:moveTo>
                    <a:pt x="1344027" y="9115961"/>
                  </a:moveTo>
                  <a:lnTo>
                    <a:pt x="124460" y="9115961"/>
                  </a:lnTo>
                  <a:cubicBezTo>
                    <a:pt x="55880" y="9115961"/>
                    <a:pt x="0" y="9060082"/>
                    <a:pt x="0" y="899150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991502"/>
                  </a:lnTo>
                  <a:cubicBezTo>
                    <a:pt x="1468487" y="9060082"/>
                    <a:pt x="1412607" y="9115961"/>
                    <a:pt x="1344027" y="9115961"/>
                  </a:cubicBezTo>
                  <a:close/>
                </a:path>
              </a:pathLst>
            </a:custGeom>
            <a:solidFill>
              <a:srgbClr val="37C9EF">
                <a:alpha val="19608"/>
              </a:srgbClr>
            </a:solidFill>
          </p:spPr>
        </p:sp>
      </p:grpSp>
      <p:grpSp>
        <p:nvGrpSpPr>
          <p:cNvPr id="12" name="Group 12"/>
          <p:cNvGrpSpPr/>
          <p:nvPr/>
        </p:nvGrpSpPr>
        <p:grpSpPr>
          <a:xfrm>
            <a:off x="13310159" y="3572285"/>
            <a:ext cx="961035" cy="4641516"/>
            <a:chOff x="0" y="0"/>
            <a:chExt cx="1468487" cy="9115962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1468487" cy="9115961"/>
            </a:xfrm>
            <a:custGeom>
              <a:avLst/>
              <a:gdLst/>
              <a:ahLst/>
              <a:cxnLst/>
              <a:rect l="l" t="t" r="r" b="b"/>
              <a:pathLst>
                <a:path w="1468487" h="9115961">
                  <a:moveTo>
                    <a:pt x="1344027" y="9115961"/>
                  </a:moveTo>
                  <a:lnTo>
                    <a:pt x="124460" y="9115961"/>
                  </a:lnTo>
                  <a:cubicBezTo>
                    <a:pt x="55880" y="9115961"/>
                    <a:pt x="0" y="9060082"/>
                    <a:pt x="0" y="899150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991502"/>
                  </a:lnTo>
                  <a:cubicBezTo>
                    <a:pt x="1468487" y="9060082"/>
                    <a:pt x="1412607" y="9115961"/>
                    <a:pt x="1344027" y="9115961"/>
                  </a:cubicBezTo>
                  <a:close/>
                </a:path>
              </a:pathLst>
            </a:custGeom>
            <a:solidFill>
              <a:srgbClr val="37C9EF">
                <a:alpha val="19608"/>
              </a:srgbClr>
            </a:solidFill>
          </p:spPr>
        </p:sp>
      </p:grpSp>
      <p:grpSp>
        <p:nvGrpSpPr>
          <p:cNvPr id="16" name="Group 16"/>
          <p:cNvGrpSpPr/>
          <p:nvPr/>
        </p:nvGrpSpPr>
        <p:grpSpPr>
          <a:xfrm>
            <a:off x="15250519" y="4047347"/>
            <a:ext cx="940046" cy="4166454"/>
            <a:chOff x="0" y="0"/>
            <a:chExt cx="1468487" cy="9115962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1468487" cy="9115961"/>
            </a:xfrm>
            <a:custGeom>
              <a:avLst/>
              <a:gdLst/>
              <a:ahLst/>
              <a:cxnLst/>
              <a:rect l="l" t="t" r="r" b="b"/>
              <a:pathLst>
                <a:path w="1468487" h="9115961">
                  <a:moveTo>
                    <a:pt x="1344027" y="9115961"/>
                  </a:moveTo>
                  <a:lnTo>
                    <a:pt x="124460" y="9115961"/>
                  </a:lnTo>
                  <a:cubicBezTo>
                    <a:pt x="55880" y="9115961"/>
                    <a:pt x="0" y="9060082"/>
                    <a:pt x="0" y="899150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991502"/>
                  </a:lnTo>
                  <a:cubicBezTo>
                    <a:pt x="1468487" y="9060082"/>
                    <a:pt x="1412607" y="9115961"/>
                    <a:pt x="1344027" y="9115961"/>
                  </a:cubicBezTo>
                  <a:close/>
                </a:path>
              </a:pathLst>
            </a:custGeom>
            <a:solidFill>
              <a:srgbClr val="37C9EF">
                <a:alpha val="19608"/>
              </a:srgbClr>
            </a:solidFill>
          </p:spPr>
        </p:sp>
      </p:grpSp>
      <p:grpSp>
        <p:nvGrpSpPr>
          <p:cNvPr id="18" name="Group 18"/>
          <p:cNvGrpSpPr/>
          <p:nvPr/>
        </p:nvGrpSpPr>
        <p:grpSpPr>
          <a:xfrm>
            <a:off x="3132394" y="6049964"/>
            <a:ext cx="912618" cy="2163837"/>
            <a:chOff x="0" y="0"/>
            <a:chExt cx="1468487" cy="3840539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1468487" cy="3840539"/>
            </a:xfrm>
            <a:custGeom>
              <a:avLst/>
              <a:gdLst/>
              <a:ahLst/>
              <a:cxnLst/>
              <a:rect l="l" t="t" r="r" b="b"/>
              <a:pathLst>
                <a:path w="1468487" h="3840539">
                  <a:moveTo>
                    <a:pt x="1344027" y="3840539"/>
                  </a:moveTo>
                  <a:lnTo>
                    <a:pt x="124460" y="3840539"/>
                  </a:lnTo>
                  <a:cubicBezTo>
                    <a:pt x="55880" y="3840539"/>
                    <a:pt x="0" y="3784659"/>
                    <a:pt x="0" y="3716079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3716079"/>
                  </a:lnTo>
                  <a:cubicBezTo>
                    <a:pt x="1468487" y="3784659"/>
                    <a:pt x="1412607" y="3840539"/>
                    <a:pt x="1344027" y="3840539"/>
                  </a:cubicBezTo>
                  <a:close/>
                </a:path>
              </a:pathLst>
            </a:custGeom>
            <a:solidFill>
              <a:srgbClr val="176294"/>
            </a:solidFill>
          </p:spPr>
        </p:sp>
      </p:grpSp>
      <p:grpSp>
        <p:nvGrpSpPr>
          <p:cNvPr id="20" name="Group 20"/>
          <p:cNvGrpSpPr/>
          <p:nvPr/>
        </p:nvGrpSpPr>
        <p:grpSpPr>
          <a:xfrm>
            <a:off x="7392241" y="5280088"/>
            <a:ext cx="930007" cy="2915950"/>
            <a:chOff x="0" y="0"/>
            <a:chExt cx="1468487" cy="5547097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1468487" cy="5547097"/>
            </a:xfrm>
            <a:custGeom>
              <a:avLst/>
              <a:gdLst/>
              <a:ahLst/>
              <a:cxnLst/>
              <a:rect l="l" t="t" r="r" b="b"/>
              <a:pathLst>
                <a:path w="1468487" h="5547097">
                  <a:moveTo>
                    <a:pt x="1344027" y="5547097"/>
                  </a:moveTo>
                  <a:lnTo>
                    <a:pt x="124460" y="5547097"/>
                  </a:lnTo>
                  <a:cubicBezTo>
                    <a:pt x="55880" y="5547097"/>
                    <a:pt x="0" y="5491217"/>
                    <a:pt x="0" y="5422637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5422637"/>
                  </a:lnTo>
                  <a:cubicBezTo>
                    <a:pt x="1468487" y="5491217"/>
                    <a:pt x="1412607" y="5547097"/>
                    <a:pt x="1344027" y="5547097"/>
                  </a:cubicBezTo>
                  <a:close/>
                </a:path>
              </a:pathLst>
            </a:custGeom>
            <a:solidFill>
              <a:srgbClr val="176294"/>
            </a:solidFill>
          </p:spPr>
        </p:sp>
      </p:grpSp>
      <p:grpSp>
        <p:nvGrpSpPr>
          <p:cNvPr id="22" name="Group 22"/>
          <p:cNvGrpSpPr/>
          <p:nvPr/>
        </p:nvGrpSpPr>
        <p:grpSpPr>
          <a:xfrm>
            <a:off x="11405400" y="5947098"/>
            <a:ext cx="939794" cy="2266704"/>
            <a:chOff x="0" y="0"/>
            <a:chExt cx="1468487" cy="4231061"/>
          </a:xfrm>
        </p:grpSpPr>
        <p:sp>
          <p:nvSpPr>
            <p:cNvPr id="23" name="Freeform 23"/>
            <p:cNvSpPr/>
            <p:nvPr/>
          </p:nvSpPr>
          <p:spPr>
            <a:xfrm>
              <a:off x="0" y="0"/>
              <a:ext cx="1468487" cy="4231061"/>
            </a:xfrm>
            <a:custGeom>
              <a:avLst/>
              <a:gdLst/>
              <a:ahLst/>
              <a:cxnLst/>
              <a:rect l="l" t="t" r="r" b="b"/>
              <a:pathLst>
                <a:path w="1468487" h="4231061">
                  <a:moveTo>
                    <a:pt x="1344027" y="4231061"/>
                  </a:moveTo>
                  <a:lnTo>
                    <a:pt x="124460" y="4231061"/>
                  </a:lnTo>
                  <a:cubicBezTo>
                    <a:pt x="55880" y="4231061"/>
                    <a:pt x="0" y="4175181"/>
                    <a:pt x="0" y="4106601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4106601"/>
                  </a:lnTo>
                  <a:cubicBezTo>
                    <a:pt x="1468487" y="4175181"/>
                    <a:pt x="1412607" y="4231061"/>
                    <a:pt x="1344027" y="4231061"/>
                  </a:cubicBezTo>
                  <a:close/>
                </a:path>
              </a:pathLst>
            </a:custGeom>
            <a:solidFill>
              <a:srgbClr val="38B6FF"/>
            </a:solidFill>
          </p:spPr>
        </p:sp>
      </p:grpSp>
      <p:grpSp>
        <p:nvGrpSpPr>
          <p:cNvPr id="24" name="Group 24"/>
          <p:cNvGrpSpPr/>
          <p:nvPr/>
        </p:nvGrpSpPr>
        <p:grpSpPr>
          <a:xfrm>
            <a:off x="13310160" y="5771475"/>
            <a:ext cx="961034" cy="2442327"/>
            <a:chOff x="0" y="0"/>
            <a:chExt cx="1468487" cy="4231061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1468487" cy="4231061"/>
            </a:xfrm>
            <a:custGeom>
              <a:avLst/>
              <a:gdLst/>
              <a:ahLst/>
              <a:cxnLst/>
              <a:rect l="l" t="t" r="r" b="b"/>
              <a:pathLst>
                <a:path w="1468487" h="4231061">
                  <a:moveTo>
                    <a:pt x="1344027" y="4231061"/>
                  </a:moveTo>
                  <a:lnTo>
                    <a:pt x="124460" y="4231061"/>
                  </a:lnTo>
                  <a:cubicBezTo>
                    <a:pt x="55880" y="4231061"/>
                    <a:pt x="0" y="4175181"/>
                    <a:pt x="0" y="4106601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4106601"/>
                  </a:lnTo>
                  <a:cubicBezTo>
                    <a:pt x="1468487" y="4175181"/>
                    <a:pt x="1412607" y="4231061"/>
                    <a:pt x="1344027" y="4231061"/>
                  </a:cubicBezTo>
                  <a:close/>
                </a:path>
              </a:pathLst>
            </a:custGeom>
            <a:solidFill>
              <a:srgbClr val="5271FF"/>
            </a:solidFill>
          </p:spPr>
        </p:sp>
      </p:grpSp>
      <p:grpSp>
        <p:nvGrpSpPr>
          <p:cNvPr id="26" name="Group 26"/>
          <p:cNvGrpSpPr/>
          <p:nvPr/>
        </p:nvGrpSpPr>
        <p:grpSpPr>
          <a:xfrm>
            <a:off x="15250519" y="6286500"/>
            <a:ext cx="940046" cy="1927302"/>
            <a:chOff x="0" y="0"/>
            <a:chExt cx="1468487" cy="4231061"/>
          </a:xfrm>
        </p:grpSpPr>
        <p:sp>
          <p:nvSpPr>
            <p:cNvPr id="27" name="Freeform 27"/>
            <p:cNvSpPr/>
            <p:nvPr/>
          </p:nvSpPr>
          <p:spPr>
            <a:xfrm>
              <a:off x="0" y="0"/>
              <a:ext cx="1468487" cy="4231061"/>
            </a:xfrm>
            <a:custGeom>
              <a:avLst/>
              <a:gdLst/>
              <a:ahLst/>
              <a:cxnLst/>
              <a:rect l="l" t="t" r="r" b="b"/>
              <a:pathLst>
                <a:path w="1468487" h="4231061">
                  <a:moveTo>
                    <a:pt x="1344027" y="4231061"/>
                  </a:moveTo>
                  <a:lnTo>
                    <a:pt x="124460" y="4231061"/>
                  </a:lnTo>
                  <a:cubicBezTo>
                    <a:pt x="55880" y="4231061"/>
                    <a:pt x="0" y="4175181"/>
                    <a:pt x="0" y="4106601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4106601"/>
                  </a:lnTo>
                  <a:cubicBezTo>
                    <a:pt x="1468487" y="4175181"/>
                    <a:pt x="1412607" y="4231061"/>
                    <a:pt x="1344027" y="4231061"/>
                  </a:cubicBezTo>
                  <a:close/>
                </a:path>
              </a:pathLst>
            </a:custGeom>
            <a:solidFill>
              <a:srgbClr val="004AAD"/>
            </a:solidFill>
          </p:spPr>
        </p:sp>
      </p:grpSp>
      <p:grpSp>
        <p:nvGrpSpPr>
          <p:cNvPr id="28" name="Group 28"/>
          <p:cNvGrpSpPr/>
          <p:nvPr/>
        </p:nvGrpSpPr>
        <p:grpSpPr>
          <a:xfrm>
            <a:off x="5217543" y="4680063"/>
            <a:ext cx="938554" cy="3533740"/>
            <a:chOff x="0" y="0"/>
            <a:chExt cx="1468487" cy="4897958"/>
          </a:xfrm>
        </p:grpSpPr>
        <p:sp>
          <p:nvSpPr>
            <p:cNvPr id="29" name="Freeform 29"/>
            <p:cNvSpPr/>
            <p:nvPr/>
          </p:nvSpPr>
          <p:spPr>
            <a:xfrm>
              <a:off x="0" y="0"/>
              <a:ext cx="1468487" cy="4897958"/>
            </a:xfrm>
            <a:custGeom>
              <a:avLst/>
              <a:gdLst/>
              <a:ahLst/>
              <a:cxnLst/>
              <a:rect l="l" t="t" r="r" b="b"/>
              <a:pathLst>
                <a:path w="1468487" h="4897958">
                  <a:moveTo>
                    <a:pt x="1344027" y="4897958"/>
                  </a:moveTo>
                  <a:lnTo>
                    <a:pt x="124460" y="4897958"/>
                  </a:lnTo>
                  <a:cubicBezTo>
                    <a:pt x="55880" y="4897958"/>
                    <a:pt x="0" y="4842078"/>
                    <a:pt x="0" y="4773498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4773498"/>
                  </a:lnTo>
                  <a:cubicBezTo>
                    <a:pt x="1468487" y="4842078"/>
                    <a:pt x="1412607" y="4897958"/>
                    <a:pt x="1344027" y="4897958"/>
                  </a:cubicBezTo>
                  <a:close/>
                </a:path>
              </a:pathLst>
            </a:custGeom>
            <a:solidFill>
              <a:srgbClr val="176294"/>
            </a:solidFill>
          </p:spPr>
        </p:sp>
      </p:grpSp>
      <p:grpSp>
        <p:nvGrpSpPr>
          <p:cNvPr id="30" name="Group 30"/>
          <p:cNvGrpSpPr/>
          <p:nvPr/>
        </p:nvGrpSpPr>
        <p:grpSpPr>
          <a:xfrm>
            <a:off x="9404650" y="4937458"/>
            <a:ext cx="927144" cy="3286469"/>
            <a:chOff x="0" y="0"/>
            <a:chExt cx="1468487" cy="6173971"/>
          </a:xfrm>
        </p:grpSpPr>
        <p:sp>
          <p:nvSpPr>
            <p:cNvPr id="31" name="Freeform 31"/>
            <p:cNvSpPr/>
            <p:nvPr/>
          </p:nvSpPr>
          <p:spPr>
            <a:xfrm>
              <a:off x="0" y="0"/>
              <a:ext cx="1468487" cy="6173971"/>
            </a:xfrm>
            <a:custGeom>
              <a:avLst/>
              <a:gdLst/>
              <a:ahLst/>
              <a:cxnLst/>
              <a:rect l="l" t="t" r="r" b="b"/>
              <a:pathLst>
                <a:path w="1468487" h="6173971">
                  <a:moveTo>
                    <a:pt x="1344027" y="6173970"/>
                  </a:moveTo>
                  <a:lnTo>
                    <a:pt x="124460" y="6173970"/>
                  </a:lnTo>
                  <a:cubicBezTo>
                    <a:pt x="55880" y="6173970"/>
                    <a:pt x="0" y="6118091"/>
                    <a:pt x="0" y="6049511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6049511"/>
                  </a:lnTo>
                  <a:cubicBezTo>
                    <a:pt x="1468487" y="6118091"/>
                    <a:pt x="1412607" y="6173971"/>
                    <a:pt x="1344027" y="6173971"/>
                  </a:cubicBezTo>
                  <a:close/>
                </a:path>
              </a:pathLst>
            </a:custGeom>
            <a:solidFill>
              <a:srgbClr val="176294"/>
            </a:solidFill>
          </p:spPr>
        </p:sp>
      </p:grpSp>
      <p:pic>
        <p:nvPicPr>
          <p:cNvPr id="32" name="Picture 3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763046" y="194163"/>
            <a:ext cx="2144842" cy="1135873"/>
          </a:xfrm>
          <a:prstGeom prst="rect">
            <a:avLst/>
          </a:prstGeom>
        </p:spPr>
      </p:pic>
      <p:sp>
        <p:nvSpPr>
          <p:cNvPr id="33" name="TextBox 33"/>
          <p:cNvSpPr txBox="1"/>
          <p:nvPr/>
        </p:nvSpPr>
        <p:spPr>
          <a:xfrm>
            <a:off x="5942806" y="61269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34" name="TextBox 34"/>
          <p:cNvSpPr txBox="1"/>
          <p:nvPr/>
        </p:nvSpPr>
        <p:spPr>
          <a:xfrm>
            <a:off x="3132394" y="8711978"/>
            <a:ext cx="94257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2018</a:t>
            </a:r>
          </a:p>
        </p:txBody>
      </p:sp>
      <p:sp>
        <p:nvSpPr>
          <p:cNvPr id="35" name="TextBox 35"/>
          <p:cNvSpPr txBox="1"/>
          <p:nvPr/>
        </p:nvSpPr>
        <p:spPr>
          <a:xfrm>
            <a:off x="5193953" y="8711978"/>
            <a:ext cx="934530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2019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7316216" y="8711978"/>
            <a:ext cx="1026473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2020</a:t>
            </a:r>
          </a:p>
        </p:txBody>
      </p:sp>
      <p:sp>
        <p:nvSpPr>
          <p:cNvPr id="37" name="TextBox 37"/>
          <p:cNvSpPr txBox="1"/>
          <p:nvPr/>
        </p:nvSpPr>
        <p:spPr>
          <a:xfrm>
            <a:off x="9417218" y="8711978"/>
            <a:ext cx="914576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2021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11259076" y="8711978"/>
            <a:ext cx="1066196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13538A"/>
                </a:solidFill>
                <a:latin typeface="Montserrat Extra-Bold"/>
              </a:rPr>
              <a:t>2022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13164661" y="8711978"/>
            <a:ext cx="1066197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2023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15158139" y="8711978"/>
            <a:ext cx="1032426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2024</a:t>
            </a:r>
          </a:p>
        </p:txBody>
      </p:sp>
      <p:sp>
        <p:nvSpPr>
          <p:cNvPr id="41" name="TextBox 41"/>
          <p:cNvSpPr txBox="1"/>
          <p:nvPr/>
        </p:nvSpPr>
        <p:spPr>
          <a:xfrm rot="-5400000">
            <a:off x="-2138640" y="5078820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13538A"/>
                </a:solidFill>
                <a:latin typeface="Montserrat Extra-Bold"/>
              </a:rPr>
              <a:t>МЛРД. РУБ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2826894" y="3817244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004AAD"/>
                </a:solidFill>
                <a:latin typeface="Montserrat Extra-Bold"/>
              </a:rPr>
              <a:t>2.829</a:t>
            </a:r>
            <a:endParaRPr lang="en-US" sz="314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43" name="TextBox 43"/>
          <p:cNvSpPr txBox="1"/>
          <p:nvPr/>
        </p:nvSpPr>
        <p:spPr>
          <a:xfrm>
            <a:off x="4822407" y="2084113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004AAD"/>
                </a:solidFill>
                <a:latin typeface="Montserrat Extra-Bold"/>
              </a:rPr>
              <a:t>4.122</a:t>
            </a:r>
            <a:endParaRPr lang="en-US" sz="314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44" name="TextBox 44"/>
          <p:cNvSpPr txBox="1"/>
          <p:nvPr/>
        </p:nvSpPr>
        <p:spPr>
          <a:xfrm>
            <a:off x="7120457" y="2693573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004AAD"/>
                </a:solidFill>
                <a:latin typeface="Montserrat Extra-Bold"/>
              </a:rPr>
              <a:t>3.562</a:t>
            </a:r>
            <a:endParaRPr lang="en-US" sz="314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45" name="TextBox 45"/>
          <p:cNvSpPr txBox="1"/>
          <p:nvPr/>
        </p:nvSpPr>
        <p:spPr>
          <a:xfrm>
            <a:off x="9083152" y="2084113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004AAD"/>
                </a:solidFill>
                <a:latin typeface="Montserrat Extra-Bold"/>
              </a:rPr>
              <a:t>3.879</a:t>
            </a:r>
            <a:endParaRPr lang="en-US" sz="314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11083942" y="2794083"/>
            <a:ext cx="1582709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004AAD"/>
                </a:solidFill>
                <a:latin typeface="Montserrat Extra-Bold"/>
              </a:rPr>
              <a:t>3.492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035285" y="2613285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004AAD"/>
                </a:solidFill>
                <a:latin typeface="Montserrat Extra-Bold"/>
              </a:rPr>
              <a:t>3.536</a:t>
            </a:r>
            <a:endParaRPr lang="en-US" sz="314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48" name="TextBox 48"/>
          <p:cNvSpPr txBox="1"/>
          <p:nvPr/>
        </p:nvSpPr>
        <p:spPr>
          <a:xfrm>
            <a:off x="14924952" y="3146971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004AAD"/>
                </a:solidFill>
                <a:latin typeface="Montserrat Extra-Bold"/>
              </a:rPr>
              <a:t>3.285</a:t>
            </a:r>
            <a:endParaRPr lang="en-US" sz="314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6353671" y="613877"/>
            <a:ext cx="558065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2C92D5"/>
                </a:solidFill>
                <a:latin typeface="Montserrat Extra-Bold"/>
              </a:rPr>
              <a:t>Доходы бюджета города</a:t>
            </a:r>
          </a:p>
        </p:txBody>
      </p:sp>
      <p:grpSp>
        <p:nvGrpSpPr>
          <p:cNvPr id="50" name="Group 50"/>
          <p:cNvGrpSpPr>
            <a:grpSpLocks noChangeAspect="1"/>
          </p:cNvGrpSpPr>
          <p:nvPr/>
        </p:nvGrpSpPr>
        <p:grpSpPr>
          <a:xfrm>
            <a:off x="16324163" y="8981975"/>
            <a:ext cx="3927674" cy="3927674"/>
            <a:chOff x="0" y="0"/>
            <a:chExt cx="6355080" cy="6355080"/>
          </a:xfrm>
        </p:grpSpPr>
        <p:sp>
          <p:nvSpPr>
            <p:cNvPr id="51" name="Freeform 51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2" name="Group 52"/>
          <p:cNvGrpSpPr/>
          <p:nvPr/>
        </p:nvGrpSpPr>
        <p:grpSpPr>
          <a:xfrm>
            <a:off x="352051" y="-150939"/>
            <a:ext cx="504017" cy="557766"/>
            <a:chOff x="0" y="0"/>
            <a:chExt cx="672023" cy="743688"/>
          </a:xfrm>
        </p:grpSpPr>
        <p:grpSp>
          <p:nvGrpSpPr>
            <p:cNvPr id="53" name="Group 53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54" name="Freeform 54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55" name="Group 55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56" name="Freeform 56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57" name="Group 57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58" name="Freeform 58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59" name="Group 59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60" name="Freeform 60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61" name="Group 61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62" name="Freeform 62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63" name="Group 63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64" name="Freeform 64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65" name="Group 65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66" name="Freeform 66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67" name="Group 67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68" name="Freeform 68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69" name="Group 69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70" name="Freeform 70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sp>
        <p:nvSpPr>
          <p:cNvPr id="71" name="AutoShape 71"/>
          <p:cNvSpPr/>
          <p:nvPr/>
        </p:nvSpPr>
        <p:spPr>
          <a:xfrm rot="-5400000">
            <a:off x="-1412605" y="5545178"/>
            <a:ext cx="5968369" cy="0"/>
          </a:xfrm>
          <a:prstGeom prst="line">
            <a:avLst/>
          </a:prstGeom>
          <a:ln w="47625" cap="rnd">
            <a:solidFill>
              <a:srgbClr val="000000">
                <a:alpha val="10980"/>
              </a:srgbClr>
            </a:solidFill>
            <a:prstDash val="solid"/>
            <a:headEnd type="none" w="sm" len="sm"/>
            <a:tailEnd type="none" w="sm" len="sm"/>
          </a:ln>
        </p:spPr>
      </p:sp>
      <p:sp>
        <p:nvSpPr>
          <p:cNvPr id="72" name="AutoShape 72"/>
          <p:cNvSpPr/>
          <p:nvPr/>
        </p:nvSpPr>
        <p:spPr>
          <a:xfrm rot="12278">
            <a:off x="1633527" y="8529363"/>
            <a:ext cx="15711480" cy="0"/>
          </a:xfrm>
          <a:prstGeom prst="line">
            <a:avLst/>
          </a:prstGeom>
          <a:ln w="47625" cap="rnd">
            <a:solidFill>
              <a:srgbClr val="000000">
                <a:alpha val="10980"/>
              </a:srgbClr>
            </a:solidFill>
            <a:prstDash val="solid"/>
            <a:headEnd type="none" w="sm" len="sm"/>
            <a:tailEnd type="none" w="sm" len="sm"/>
          </a:ln>
        </p:spPr>
      </p:sp>
      <p:sp>
        <p:nvSpPr>
          <p:cNvPr id="73" name="TextBox 73"/>
          <p:cNvSpPr txBox="1"/>
          <p:nvPr/>
        </p:nvSpPr>
        <p:spPr>
          <a:xfrm rot="-5400000">
            <a:off x="2786220" y="6861851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FFFFFF"/>
                </a:solidFill>
                <a:latin typeface="Montserrat Extra-Bold"/>
              </a:rPr>
              <a:t>2.006</a:t>
            </a:r>
            <a:endParaRPr lang="en-US" sz="3147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74" name="TextBox 74"/>
          <p:cNvSpPr txBox="1"/>
          <p:nvPr/>
        </p:nvSpPr>
        <p:spPr>
          <a:xfrm rot="-5400000">
            <a:off x="4870626" y="6559190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FFFFFF"/>
                </a:solidFill>
                <a:latin typeface="Montserrat Extra-Bold"/>
              </a:rPr>
              <a:t>3.169</a:t>
            </a:r>
            <a:endParaRPr lang="en-US" sz="3147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75" name="TextBox 75"/>
          <p:cNvSpPr txBox="1"/>
          <p:nvPr/>
        </p:nvSpPr>
        <p:spPr>
          <a:xfrm rot="-5400000">
            <a:off x="7065889" y="6523906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FFFFFF"/>
                </a:solidFill>
                <a:latin typeface="Montserrat Extra-Bold"/>
              </a:rPr>
              <a:t>2.527</a:t>
            </a:r>
            <a:endParaRPr lang="en-US" sz="3147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76" name="TextBox 76"/>
          <p:cNvSpPr txBox="1"/>
          <p:nvPr/>
        </p:nvSpPr>
        <p:spPr>
          <a:xfrm rot="-5400000">
            <a:off x="9087623" y="6506125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FFFFFF"/>
                </a:solidFill>
                <a:latin typeface="Montserrat Extra-Bold"/>
              </a:rPr>
              <a:t>2.739</a:t>
            </a:r>
            <a:endParaRPr lang="en-US" sz="3147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77" name="TextBox 77"/>
          <p:cNvSpPr txBox="1"/>
          <p:nvPr/>
        </p:nvSpPr>
        <p:spPr>
          <a:xfrm rot="-5400000">
            <a:off x="11075645" y="6587905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FFFFFF"/>
                </a:solidFill>
                <a:latin typeface="Montserrat Extra-Bold"/>
              </a:rPr>
              <a:t>2.376</a:t>
            </a:r>
            <a:endParaRPr lang="en-US" sz="3147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78" name="TextBox 78"/>
          <p:cNvSpPr txBox="1"/>
          <p:nvPr/>
        </p:nvSpPr>
        <p:spPr>
          <a:xfrm rot="-5400000">
            <a:off x="12980897" y="6624009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FFFFFF"/>
                </a:solidFill>
                <a:latin typeface="Montserrat Extra-Bold"/>
              </a:rPr>
              <a:t>2.400</a:t>
            </a:r>
            <a:endParaRPr lang="en-US" sz="3147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79" name="TextBox 79"/>
          <p:cNvSpPr txBox="1"/>
          <p:nvPr/>
        </p:nvSpPr>
        <p:spPr>
          <a:xfrm rot="-5400000">
            <a:off x="14924953" y="6891293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FFFFFF"/>
                </a:solidFill>
                <a:latin typeface="Montserrat Extra-Bold"/>
              </a:rPr>
              <a:t>2.124</a:t>
            </a:r>
            <a:endParaRPr lang="en-US" sz="3147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80" name="AutoShape 80"/>
          <p:cNvSpPr/>
          <p:nvPr/>
        </p:nvSpPr>
        <p:spPr>
          <a:xfrm rot="-968420" flipV="1">
            <a:off x="3838622" y="4461788"/>
            <a:ext cx="2098604" cy="78160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81" name="AutoShape 81"/>
          <p:cNvSpPr/>
          <p:nvPr/>
        </p:nvSpPr>
        <p:spPr>
          <a:xfrm rot="-649446" flipV="1">
            <a:off x="5857179" y="3916030"/>
            <a:ext cx="1806720" cy="77768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82" name="AutoShape 82"/>
          <p:cNvSpPr/>
          <p:nvPr/>
        </p:nvSpPr>
        <p:spPr>
          <a:xfrm rot="-653479">
            <a:off x="7610580" y="3508842"/>
            <a:ext cx="2347575" cy="0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83" name="AutoShape 83"/>
          <p:cNvSpPr/>
          <p:nvPr/>
        </p:nvSpPr>
        <p:spPr>
          <a:xfrm rot="-665604">
            <a:off x="10018180" y="3082913"/>
            <a:ext cx="1932354" cy="948794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86" name="TextBox 86"/>
          <p:cNvSpPr txBox="1"/>
          <p:nvPr/>
        </p:nvSpPr>
        <p:spPr>
          <a:xfrm rot="-5400000">
            <a:off x="2805840" y="5124010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176294"/>
                </a:solidFill>
                <a:latin typeface="Montserrat Extra-Bold"/>
              </a:rPr>
              <a:t>883</a:t>
            </a:r>
            <a:endParaRPr lang="en-US" sz="3147" dirty="0">
              <a:solidFill>
                <a:srgbClr val="176294"/>
              </a:solidFill>
              <a:latin typeface="Montserrat Extra-Bold"/>
            </a:endParaRPr>
          </a:p>
        </p:txBody>
      </p:sp>
      <p:sp>
        <p:nvSpPr>
          <p:cNvPr id="87" name="TextBox 87"/>
          <p:cNvSpPr txBox="1"/>
          <p:nvPr/>
        </p:nvSpPr>
        <p:spPr>
          <a:xfrm rot="-5400000">
            <a:off x="4904182" y="3343160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176294"/>
                </a:solidFill>
                <a:latin typeface="Montserrat Extra-Bold"/>
              </a:rPr>
              <a:t>953</a:t>
            </a:r>
            <a:endParaRPr lang="en-US" sz="3147" dirty="0">
              <a:solidFill>
                <a:srgbClr val="176294"/>
              </a:solidFill>
              <a:latin typeface="Montserrat Extra-Bold"/>
            </a:endParaRPr>
          </a:p>
        </p:txBody>
      </p:sp>
      <p:sp>
        <p:nvSpPr>
          <p:cNvPr id="88" name="TextBox 88"/>
          <p:cNvSpPr txBox="1"/>
          <p:nvPr/>
        </p:nvSpPr>
        <p:spPr>
          <a:xfrm rot="-5400000">
            <a:off x="7088810" y="4170256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176294"/>
                </a:solidFill>
                <a:latin typeface="Montserrat Extra-Bold"/>
              </a:rPr>
              <a:t>1.035</a:t>
            </a:r>
            <a:endParaRPr lang="en-US" sz="3147" dirty="0">
              <a:solidFill>
                <a:srgbClr val="176294"/>
              </a:solidFill>
              <a:latin typeface="Montserrat Extra-Bold"/>
            </a:endParaRPr>
          </a:p>
        </p:txBody>
      </p:sp>
      <p:sp>
        <p:nvSpPr>
          <p:cNvPr id="89" name="TextBox 89"/>
          <p:cNvSpPr txBox="1"/>
          <p:nvPr/>
        </p:nvSpPr>
        <p:spPr>
          <a:xfrm rot="-5400000">
            <a:off x="9076867" y="3752079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176294"/>
                </a:solidFill>
                <a:latin typeface="Montserrat Extra-Bold"/>
              </a:rPr>
              <a:t>1.140</a:t>
            </a:r>
            <a:endParaRPr lang="en-US" sz="3147" dirty="0">
              <a:solidFill>
                <a:srgbClr val="176294"/>
              </a:solidFill>
              <a:latin typeface="Montserrat Extra-Bold"/>
            </a:endParaRPr>
          </a:p>
        </p:txBody>
      </p:sp>
      <p:sp>
        <p:nvSpPr>
          <p:cNvPr id="90" name="TextBox 90"/>
          <p:cNvSpPr txBox="1"/>
          <p:nvPr/>
        </p:nvSpPr>
        <p:spPr>
          <a:xfrm rot="-5400000">
            <a:off x="11093506" y="4472378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176294"/>
                </a:solidFill>
                <a:latin typeface="Montserrat Extra-Bold"/>
              </a:rPr>
              <a:t>1.116</a:t>
            </a:r>
            <a:endParaRPr lang="en-US" sz="3147" dirty="0">
              <a:solidFill>
                <a:srgbClr val="176294"/>
              </a:solidFill>
              <a:latin typeface="Montserrat Extra-Bold"/>
            </a:endParaRPr>
          </a:p>
        </p:txBody>
      </p:sp>
      <p:sp>
        <p:nvSpPr>
          <p:cNvPr id="91" name="TextBox 91"/>
          <p:cNvSpPr txBox="1"/>
          <p:nvPr/>
        </p:nvSpPr>
        <p:spPr>
          <a:xfrm rot="-5400000">
            <a:off x="13021181" y="4493744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176294"/>
                </a:solidFill>
                <a:latin typeface="Montserrat Extra-Bold"/>
              </a:rPr>
              <a:t>1.136</a:t>
            </a:r>
            <a:endParaRPr lang="en-US" sz="3147" dirty="0">
              <a:solidFill>
                <a:srgbClr val="176294"/>
              </a:solidFill>
              <a:latin typeface="Montserrat Extra-Bold"/>
            </a:endParaRPr>
          </a:p>
        </p:txBody>
      </p:sp>
      <p:sp>
        <p:nvSpPr>
          <p:cNvPr id="92" name="TextBox 92"/>
          <p:cNvSpPr txBox="1"/>
          <p:nvPr/>
        </p:nvSpPr>
        <p:spPr>
          <a:xfrm rot="-5400000">
            <a:off x="14946100" y="5016746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176294"/>
                </a:solidFill>
                <a:latin typeface="Montserrat Extra-Bold"/>
              </a:rPr>
              <a:t>1.161</a:t>
            </a:r>
            <a:endParaRPr lang="en-US" sz="3147" dirty="0">
              <a:solidFill>
                <a:srgbClr val="176294"/>
              </a:solidFill>
              <a:latin typeface="Montserrat Extra-Bold"/>
            </a:endParaRPr>
          </a:p>
        </p:txBody>
      </p:sp>
      <p:sp>
        <p:nvSpPr>
          <p:cNvPr id="93" name="TextBox 42"/>
          <p:cNvSpPr txBox="1"/>
          <p:nvPr/>
        </p:nvSpPr>
        <p:spPr>
          <a:xfrm>
            <a:off x="3802859" y="5069852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C00000"/>
                </a:solidFill>
                <a:latin typeface="Montserrat Extra-Bold"/>
              </a:rPr>
              <a:t>+233</a:t>
            </a:r>
            <a:endParaRPr lang="en-US" sz="3147" dirty="0">
              <a:solidFill>
                <a:srgbClr val="C00000"/>
              </a:solidFill>
              <a:latin typeface="Montserrat Extra-Bold"/>
            </a:endParaRPr>
          </a:p>
        </p:txBody>
      </p:sp>
      <p:sp>
        <p:nvSpPr>
          <p:cNvPr id="94" name="TextBox 42"/>
          <p:cNvSpPr txBox="1"/>
          <p:nvPr/>
        </p:nvSpPr>
        <p:spPr>
          <a:xfrm>
            <a:off x="6034984" y="4157163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C00000"/>
                </a:solidFill>
                <a:latin typeface="Montserrat Extra-Bold"/>
              </a:rPr>
              <a:t>+163</a:t>
            </a:r>
            <a:endParaRPr lang="en-US" sz="3147" dirty="0">
              <a:solidFill>
                <a:srgbClr val="C00000"/>
              </a:solidFill>
              <a:latin typeface="Montserrat Extra-Bold"/>
            </a:endParaRPr>
          </a:p>
        </p:txBody>
      </p:sp>
      <p:sp>
        <p:nvSpPr>
          <p:cNvPr id="95" name="TextBox 42"/>
          <p:cNvSpPr txBox="1"/>
          <p:nvPr/>
        </p:nvSpPr>
        <p:spPr>
          <a:xfrm>
            <a:off x="8077197" y="3744184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C00000"/>
                </a:solidFill>
                <a:latin typeface="Montserrat Extra-Bold"/>
              </a:rPr>
              <a:t>+81</a:t>
            </a:r>
            <a:endParaRPr lang="en-US" sz="3147" dirty="0">
              <a:solidFill>
                <a:srgbClr val="C00000"/>
              </a:solidFill>
              <a:latin typeface="Montserrat Extra-Bold"/>
            </a:endParaRPr>
          </a:p>
        </p:txBody>
      </p:sp>
      <p:sp>
        <p:nvSpPr>
          <p:cNvPr id="96" name="TextBox 42"/>
          <p:cNvSpPr txBox="1"/>
          <p:nvPr/>
        </p:nvSpPr>
        <p:spPr>
          <a:xfrm>
            <a:off x="10150350" y="4052312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C00000"/>
                </a:solidFill>
                <a:latin typeface="Montserrat Extra-Bold"/>
              </a:rPr>
              <a:t>-24</a:t>
            </a:r>
            <a:endParaRPr lang="en-US" sz="3147" dirty="0">
              <a:solidFill>
                <a:srgbClr val="C00000"/>
              </a:solidFill>
              <a:latin typeface="Montserrat Extra-Bold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763046" y="194163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324163" y="89819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352051" y="-150939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grpSp>
        <p:nvGrpSpPr>
          <p:cNvPr id="24" name="Group 24"/>
          <p:cNvGrpSpPr/>
          <p:nvPr/>
        </p:nvGrpSpPr>
        <p:grpSpPr>
          <a:xfrm>
            <a:off x="5341547" y="1799750"/>
            <a:ext cx="7817380" cy="7505957"/>
            <a:chOff x="-399614" y="0"/>
            <a:chExt cx="10423172" cy="10007941"/>
          </a:xfrm>
        </p:grpSpPr>
        <p:grpSp>
          <p:nvGrpSpPr>
            <p:cNvPr id="25" name="Group 25"/>
            <p:cNvGrpSpPr>
              <a:grpSpLocks noChangeAspect="1"/>
            </p:cNvGrpSpPr>
            <p:nvPr/>
          </p:nvGrpSpPr>
          <p:grpSpPr>
            <a:xfrm>
              <a:off x="-399614" y="0"/>
              <a:ext cx="10423172" cy="10007941"/>
              <a:chOff x="-105993" y="0"/>
              <a:chExt cx="2764623" cy="2654488"/>
            </a:xfrm>
          </p:grpSpPr>
          <p:sp>
            <p:nvSpPr>
              <p:cNvPr id="26" name="Freeform 26"/>
              <p:cNvSpPr/>
              <p:nvPr/>
            </p:nvSpPr>
            <p:spPr>
              <a:xfrm>
                <a:off x="1270000" y="0"/>
                <a:ext cx="1142097" cy="1270000"/>
              </a:xfrm>
              <a:custGeom>
                <a:avLst/>
                <a:gdLst/>
                <a:ahLst/>
                <a:cxnLst/>
                <a:rect l="l" t="t" r="r" b="b"/>
                <a:pathLst>
                  <a:path w="1142097" h="1270000">
                    <a:moveTo>
                      <a:pt x="0" y="0"/>
                    </a:moveTo>
                    <a:cubicBezTo>
                      <a:pt x="486074" y="0"/>
                      <a:pt x="929511" y="277439"/>
                      <a:pt x="1142097" y="714560"/>
                    </a:cubicBezTo>
                    <a:lnTo>
                      <a:pt x="0" y="1270000"/>
                    </a:lnTo>
                    <a:close/>
                  </a:path>
                </a:pathLst>
              </a:custGeom>
              <a:solidFill>
                <a:srgbClr val="176294"/>
              </a:solidFill>
            </p:spPr>
          </p:sp>
          <p:sp>
            <p:nvSpPr>
              <p:cNvPr id="27" name="Freeform 27"/>
              <p:cNvSpPr/>
              <p:nvPr/>
            </p:nvSpPr>
            <p:spPr>
              <a:xfrm>
                <a:off x="-105993" y="0"/>
                <a:ext cx="2764623" cy="2654488"/>
              </a:xfrm>
              <a:custGeom>
                <a:avLst/>
                <a:gdLst/>
                <a:ahLst/>
                <a:cxnLst/>
                <a:rect l="l" t="t" r="r" b="b"/>
                <a:pathLst>
                  <a:path w="2764623" h="2654488">
                    <a:moveTo>
                      <a:pt x="2488903" y="658173"/>
                    </a:moveTo>
                    <a:cubicBezTo>
                      <a:pt x="2764623" y="1159706"/>
                      <a:pt x="2670818" y="1783699"/>
                      <a:pt x="2259825" y="2181998"/>
                    </a:cubicBezTo>
                    <a:cubicBezTo>
                      <a:pt x="1848833" y="2580298"/>
                      <a:pt x="1222205" y="2654488"/>
                      <a:pt x="729565" y="2363175"/>
                    </a:cubicBezTo>
                    <a:cubicBezTo>
                      <a:pt x="236925" y="2071862"/>
                      <a:pt x="0" y="1487026"/>
                      <a:pt x="150980" y="934973"/>
                    </a:cubicBezTo>
                    <a:cubicBezTo>
                      <a:pt x="301960" y="382920"/>
                      <a:pt x="803539" y="57"/>
                      <a:pt x="1375866" y="0"/>
                    </a:cubicBezTo>
                    <a:lnTo>
                      <a:pt x="1375993" y="1270000"/>
                    </a:lnTo>
                    <a:close/>
                  </a:path>
                </a:pathLst>
              </a:custGeom>
              <a:solidFill>
                <a:srgbClr val="687FB2"/>
              </a:solidFill>
            </p:spPr>
          </p:sp>
          <p:sp>
            <p:nvSpPr>
              <p:cNvPr id="28" name="Freeform 28"/>
              <p:cNvSpPr/>
              <p:nvPr/>
            </p:nvSpPr>
            <p:spPr>
              <a:xfrm>
                <a:off x="1270000" y="0"/>
                <a:ext cx="127" cy="1270000"/>
              </a:xfrm>
              <a:custGeom>
                <a:avLst/>
                <a:gdLst/>
                <a:ahLst/>
                <a:cxnLst/>
                <a:rect l="l" t="t" r="r" b="b"/>
                <a:pathLst>
                  <a:path w="127" h="1270000">
                    <a:moveTo>
                      <a:pt x="0" y="0"/>
                    </a:moveTo>
                    <a:cubicBezTo>
                      <a:pt x="42" y="0"/>
                      <a:pt x="85" y="0"/>
                      <a:pt x="127" y="0"/>
                    </a:cubicBezTo>
                    <a:lnTo>
                      <a:pt x="0" y="1270000"/>
                    </a:lnTo>
                    <a:close/>
                  </a:path>
                </a:pathLst>
              </a:custGeom>
              <a:solidFill>
                <a:srgbClr val="A19ECC"/>
              </a:solidFill>
            </p:spPr>
          </p:sp>
        </p:grpSp>
      </p:grpSp>
      <p:grpSp>
        <p:nvGrpSpPr>
          <p:cNvPr id="29" name="Group 29"/>
          <p:cNvGrpSpPr/>
          <p:nvPr/>
        </p:nvGrpSpPr>
        <p:grpSpPr>
          <a:xfrm rot="-4607735">
            <a:off x="5022742" y="2505615"/>
            <a:ext cx="3800166" cy="4715902"/>
            <a:chOff x="0" y="0"/>
            <a:chExt cx="2044662" cy="2537370"/>
          </a:xfrm>
        </p:grpSpPr>
        <p:sp>
          <p:nvSpPr>
            <p:cNvPr id="30" name="Freeform 30"/>
            <p:cNvSpPr/>
            <p:nvPr/>
          </p:nvSpPr>
          <p:spPr>
            <a:xfrm>
              <a:off x="0" y="0"/>
              <a:ext cx="2044662" cy="2537370"/>
            </a:xfrm>
            <a:custGeom>
              <a:avLst/>
              <a:gdLst/>
              <a:ahLst/>
              <a:cxnLst/>
              <a:rect l="l" t="t" r="r" b="b"/>
              <a:pathLst>
                <a:path w="2044662" h="2537370">
                  <a:moveTo>
                    <a:pt x="0" y="0"/>
                  </a:moveTo>
                  <a:lnTo>
                    <a:pt x="1022331" y="2537370"/>
                  </a:lnTo>
                  <a:lnTo>
                    <a:pt x="2044662" y="0"/>
                  </a:lnTo>
                  <a:close/>
                </a:path>
              </a:pathLst>
            </a:custGeom>
            <a:solidFill>
              <a:srgbClr val="03989E"/>
            </a:solidFill>
          </p:spPr>
        </p:sp>
      </p:grpSp>
      <p:grpSp>
        <p:nvGrpSpPr>
          <p:cNvPr id="31" name="Group 31"/>
          <p:cNvGrpSpPr/>
          <p:nvPr/>
        </p:nvGrpSpPr>
        <p:grpSpPr>
          <a:xfrm rot="9016481">
            <a:off x="9233823" y="5086314"/>
            <a:ext cx="2066305" cy="4220500"/>
            <a:chOff x="0" y="0"/>
            <a:chExt cx="1111766" cy="2270821"/>
          </a:xfrm>
        </p:grpSpPr>
        <p:sp>
          <p:nvSpPr>
            <p:cNvPr id="32" name="Freeform 32"/>
            <p:cNvSpPr/>
            <p:nvPr/>
          </p:nvSpPr>
          <p:spPr>
            <a:xfrm>
              <a:off x="0" y="0"/>
              <a:ext cx="1111766" cy="2270821"/>
            </a:xfrm>
            <a:custGeom>
              <a:avLst/>
              <a:gdLst/>
              <a:ahLst/>
              <a:cxnLst/>
              <a:rect l="l" t="t" r="r" b="b"/>
              <a:pathLst>
                <a:path w="1111766" h="2270821">
                  <a:moveTo>
                    <a:pt x="0" y="0"/>
                  </a:moveTo>
                  <a:lnTo>
                    <a:pt x="555883" y="2270821"/>
                  </a:lnTo>
                  <a:lnTo>
                    <a:pt x="1111766" y="0"/>
                  </a:lnTo>
                  <a:close/>
                </a:path>
              </a:pathLst>
            </a:custGeom>
            <a:solidFill>
              <a:srgbClr val="38B6FF"/>
            </a:solidFill>
          </p:spPr>
        </p:sp>
      </p:grpSp>
      <p:sp>
        <p:nvSpPr>
          <p:cNvPr id="33" name="TextBox 33"/>
          <p:cNvSpPr txBox="1"/>
          <p:nvPr/>
        </p:nvSpPr>
        <p:spPr>
          <a:xfrm>
            <a:off x="5942806" y="221580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34" name="TextBox 34"/>
          <p:cNvSpPr txBox="1"/>
          <p:nvPr/>
        </p:nvSpPr>
        <p:spPr>
          <a:xfrm>
            <a:off x="6521393" y="783713"/>
            <a:ext cx="5275696" cy="5642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2C92D5"/>
                </a:solidFill>
                <a:latin typeface="Montserrat Extra-Bold"/>
              </a:rPr>
              <a:t>Собственные доходы</a:t>
            </a:r>
          </a:p>
        </p:txBody>
      </p:sp>
      <p:sp>
        <p:nvSpPr>
          <p:cNvPr id="35" name="TextBox 35"/>
          <p:cNvSpPr txBox="1"/>
          <p:nvPr/>
        </p:nvSpPr>
        <p:spPr>
          <a:xfrm>
            <a:off x="11797089" y="2052375"/>
            <a:ext cx="3060116" cy="110591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</a:pPr>
            <a:r>
              <a:rPr lang="en-US" sz="3147" dirty="0">
                <a:solidFill>
                  <a:srgbClr val="176294"/>
                </a:solidFill>
                <a:latin typeface="Montserrat Extra-Bold"/>
              </a:rPr>
              <a:t>неналоговые</a:t>
            </a:r>
          </a:p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176294"/>
                </a:solidFill>
                <a:latin typeface="Montserrat Extra-Bold"/>
              </a:rPr>
              <a:t>доходы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3743114" y="7767409"/>
            <a:ext cx="2505286" cy="110591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</a:pPr>
            <a:r>
              <a:rPr lang="en-US" sz="3147" dirty="0">
                <a:solidFill>
                  <a:srgbClr val="687FB2"/>
                </a:solidFill>
                <a:latin typeface="Montserrat Extra-Bold"/>
              </a:rPr>
              <a:t>налоговые</a:t>
            </a:r>
          </a:p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687FB2"/>
                </a:solidFill>
                <a:latin typeface="Montserrat Extra-Bold"/>
              </a:rPr>
              <a:t>доходы</a:t>
            </a:r>
          </a:p>
        </p:txBody>
      </p:sp>
      <p:sp>
        <p:nvSpPr>
          <p:cNvPr id="37" name="TextBox 37"/>
          <p:cNvSpPr txBox="1"/>
          <p:nvPr/>
        </p:nvSpPr>
        <p:spPr>
          <a:xfrm>
            <a:off x="9966608" y="2925284"/>
            <a:ext cx="1221340" cy="7053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482"/>
              </a:lnSpc>
              <a:spcBef>
                <a:spcPct val="0"/>
              </a:spcBef>
            </a:pPr>
            <a:r>
              <a:rPr lang="en-US" sz="3915" dirty="0">
                <a:solidFill>
                  <a:srgbClr val="FFFFFF"/>
                </a:solidFill>
                <a:latin typeface="Montserrat Extra-Bold"/>
              </a:rPr>
              <a:t>17%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7846195" y="6151398"/>
            <a:ext cx="1386176" cy="7053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482"/>
              </a:lnSpc>
              <a:spcBef>
                <a:spcPct val="0"/>
              </a:spcBef>
            </a:pPr>
            <a:r>
              <a:rPr lang="en-US" sz="3915" dirty="0">
                <a:solidFill>
                  <a:srgbClr val="FFFFFF"/>
                </a:solidFill>
                <a:latin typeface="Montserrat Extra-Bold"/>
              </a:rPr>
              <a:t>83%</a:t>
            </a:r>
          </a:p>
        </p:txBody>
      </p:sp>
      <p:sp>
        <p:nvSpPr>
          <p:cNvPr id="39" name="TextBox 39"/>
          <p:cNvSpPr txBox="1"/>
          <p:nvPr/>
        </p:nvSpPr>
        <p:spPr>
          <a:xfrm rot="826373">
            <a:off x="4779518" y="4694034"/>
            <a:ext cx="2684999" cy="6103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994"/>
              </a:lnSpc>
              <a:spcBef>
                <a:spcPct val="0"/>
              </a:spcBef>
            </a:pPr>
            <a:r>
              <a:rPr lang="en-US" sz="3567" dirty="0">
                <a:solidFill>
                  <a:srgbClr val="FFFFFF"/>
                </a:solidFill>
                <a:latin typeface="Montserrat Extra-Bold"/>
              </a:rPr>
              <a:t>54% НДФЛ</a:t>
            </a:r>
          </a:p>
        </p:txBody>
      </p:sp>
      <p:sp>
        <p:nvSpPr>
          <p:cNvPr id="40" name="TextBox 40"/>
          <p:cNvSpPr txBox="1"/>
          <p:nvPr/>
        </p:nvSpPr>
        <p:spPr>
          <a:xfrm rot="4364832">
            <a:off x="8877657" y="7619375"/>
            <a:ext cx="3297958" cy="7950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895"/>
              </a:lnSpc>
            </a:pPr>
            <a:r>
              <a:rPr lang="en-US" sz="2400" dirty="0">
                <a:solidFill>
                  <a:srgbClr val="FFFFFF"/>
                </a:solidFill>
                <a:latin typeface="Montserrat Extra-Bold"/>
              </a:rPr>
              <a:t>16,9%</a:t>
            </a:r>
          </a:p>
          <a:p>
            <a:pPr algn="ctr">
              <a:lnSpc>
                <a:spcPts val="2265"/>
              </a:lnSpc>
              <a:spcBef>
                <a:spcPct val="0"/>
              </a:spcBef>
            </a:pPr>
            <a:r>
              <a:rPr lang="en-US" sz="1618" dirty="0">
                <a:solidFill>
                  <a:srgbClr val="FFFFFF"/>
                </a:solidFill>
                <a:latin typeface="Montserrat Extra-Bold"/>
              </a:rPr>
              <a:t> ЗЕМЕЛЬНЫЙ НАЛОГ</a:t>
            </a:r>
          </a:p>
        </p:txBody>
      </p:sp>
      <p:sp>
        <p:nvSpPr>
          <p:cNvPr id="41" name="TextBox 42"/>
          <p:cNvSpPr txBox="1"/>
          <p:nvPr/>
        </p:nvSpPr>
        <p:spPr>
          <a:xfrm>
            <a:off x="13327147" y="3396913"/>
            <a:ext cx="3173619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176294"/>
                </a:solidFill>
                <a:latin typeface="Montserrat Extra-Bold"/>
              </a:rPr>
              <a:t>189 млн. руб.</a:t>
            </a:r>
            <a:endParaRPr lang="en-US" sz="3147" dirty="0">
              <a:solidFill>
                <a:srgbClr val="176294"/>
              </a:solidFill>
              <a:latin typeface="Montserrat Extra-Bold"/>
            </a:endParaRPr>
          </a:p>
        </p:txBody>
      </p:sp>
      <p:sp>
        <p:nvSpPr>
          <p:cNvPr id="42" name="TextBox 42"/>
          <p:cNvSpPr txBox="1"/>
          <p:nvPr/>
        </p:nvSpPr>
        <p:spPr>
          <a:xfrm>
            <a:off x="1583255" y="7052898"/>
            <a:ext cx="3173619" cy="522900"/>
          </a:xfrm>
          <a:prstGeom prst="rect">
            <a:avLst/>
          </a:prstGeom>
          <a:ln>
            <a:solidFill>
              <a:srgbClr val="687FB2"/>
            </a:solidFill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687FB2"/>
                </a:solidFill>
                <a:latin typeface="Montserrat Extra-Bold"/>
              </a:rPr>
              <a:t>927 млн. руб.</a:t>
            </a:r>
            <a:endParaRPr lang="en-US" sz="3147" dirty="0">
              <a:solidFill>
                <a:srgbClr val="687FB2"/>
              </a:solidFill>
              <a:latin typeface="Montserrat Extra-Bold"/>
            </a:endParaRPr>
          </a:p>
        </p:txBody>
      </p:sp>
      <p:sp>
        <p:nvSpPr>
          <p:cNvPr id="47" name="TextBox 38"/>
          <p:cNvSpPr txBox="1"/>
          <p:nvPr/>
        </p:nvSpPr>
        <p:spPr>
          <a:xfrm rot="4221350">
            <a:off x="9168987" y="7414748"/>
            <a:ext cx="3895134" cy="7053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482"/>
              </a:lnSpc>
              <a:spcBef>
                <a:spcPct val="0"/>
              </a:spcBef>
            </a:pPr>
            <a:r>
              <a:rPr lang="ru-RU" sz="2400" dirty="0" smtClean="0">
                <a:solidFill>
                  <a:srgbClr val="FFFFFF"/>
                </a:solidFill>
                <a:latin typeface="Montserrat Extra-Bold"/>
              </a:rPr>
              <a:t>189 млн. руб.</a:t>
            </a:r>
            <a:endParaRPr lang="en-US" sz="2400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48" name="TextBox 39"/>
          <p:cNvSpPr txBox="1"/>
          <p:nvPr/>
        </p:nvSpPr>
        <p:spPr>
          <a:xfrm rot="893039">
            <a:off x="4696226" y="4018820"/>
            <a:ext cx="3281596" cy="6412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994"/>
              </a:lnSpc>
              <a:spcBef>
                <a:spcPct val="0"/>
              </a:spcBef>
            </a:pPr>
            <a:r>
              <a:rPr lang="ru-RU" sz="2800" dirty="0" smtClean="0">
                <a:solidFill>
                  <a:srgbClr val="FFFFFF"/>
                </a:solidFill>
                <a:latin typeface="Montserrat Extra-Bold"/>
              </a:rPr>
              <a:t>603 млн. руб.</a:t>
            </a:r>
            <a:endParaRPr lang="en-US" sz="2800" dirty="0">
              <a:solidFill>
                <a:srgbClr val="FFFFFF"/>
              </a:solidFill>
              <a:latin typeface="Montserrat Extra-Bold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5189929" y="2951727"/>
            <a:ext cx="847666" cy="5262074"/>
            <a:chOff x="0" y="0"/>
            <a:chExt cx="1468487" cy="9115962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468487" cy="9115961"/>
            </a:xfrm>
            <a:custGeom>
              <a:avLst/>
              <a:gdLst/>
              <a:ahLst/>
              <a:cxnLst/>
              <a:rect l="l" t="t" r="r" b="b"/>
              <a:pathLst>
                <a:path w="1468487" h="9115961">
                  <a:moveTo>
                    <a:pt x="1344027" y="9115961"/>
                  </a:moveTo>
                  <a:lnTo>
                    <a:pt x="124460" y="9115961"/>
                  </a:lnTo>
                  <a:cubicBezTo>
                    <a:pt x="55880" y="9115961"/>
                    <a:pt x="0" y="9060082"/>
                    <a:pt x="0" y="899150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991502"/>
                  </a:lnTo>
                  <a:cubicBezTo>
                    <a:pt x="1468487" y="9060082"/>
                    <a:pt x="1412607" y="9115961"/>
                    <a:pt x="1344027" y="9115961"/>
                  </a:cubicBezTo>
                  <a:close/>
                </a:path>
              </a:pathLst>
            </a:custGeom>
            <a:solidFill>
              <a:srgbClr val="82DCF4">
                <a:alpha val="19608"/>
              </a:srgbClr>
            </a:solidFill>
          </p:spPr>
        </p:sp>
      </p:grpSp>
      <p:grpSp>
        <p:nvGrpSpPr>
          <p:cNvPr id="4" name="Group 4"/>
          <p:cNvGrpSpPr/>
          <p:nvPr/>
        </p:nvGrpSpPr>
        <p:grpSpPr>
          <a:xfrm>
            <a:off x="9450673" y="3118533"/>
            <a:ext cx="847666" cy="5095267"/>
            <a:chOff x="0" y="0"/>
            <a:chExt cx="1468487" cy="9115962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1468487" cy="9115961"/>
            </a:xfrm>
            <a:custGeom>
              <a:avLst/>
              <a:gdLst/>
              <a:ahLst/>
              <a:cxnLst/>
              <a:rect l="l" t="t" r="r" b="b"/>
              <a:pathLst>
                <a:path w="1468487" h="9115961">
                  <a:moveTo>
                    <a:pt x="1344027" y="9115961"/>
                  </a:moveTo>
                  <a:lnTo>
                    <a:pt x="124460" y="9115961"/>
                  </a:lnTo>
                  <a:cubicBezTo>
                    <a:pt x="55880" y="9115961"/>
                    <a:pt x="0" y="9060082"/>
                    <a:pt x="0" y="899150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991502"/>
                  </a:lnTo>
                  <a:cubicBezTo>
                    <a:pt x="1468487" y="9060082"/>
                    <a:pt x="1412607" y="9115961"/>
                    <a:pt x="1344027" y="9115961"/>
                  </a:cubicBezTo>
                  <a:close/>
                </a:path>
              </a:pathLst>
            </a:custGeom>
            <a:solidFill>
              <a:srgbClr val="82DCF4">
                <a:alpha val="19608"/>
              </a:srgbClr>
            </a:solidFill>
          </p:spPr>
        </p:sp>
      </p:grpSp>
      <p:grpSp>
        <p:nvGrpSpPr>
          <p:cNvPr id="6" name="Group 6"/>
          <p:cNvGrpSpPr/>
          <p:nvPr/>
        </p:nvGrpSpPr>
        <p:grpSpPr>
          <a:xfrm>
            <a:off x="3132394" y="4264267"/>
            <a:ext cx="847666" cy="3949534"/>
            <a:chOff x="0" y="0"/>
            <a:chExt cx="1468487" cy="9115962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1468487" cy="9115961"/>
            </a:xfrm>
            <a:custGeom>
              <a:avLst/>
              <a:gdLst/>
              <a:ahLst/>
              <a:cxnLst/>
              <a:rect l="l" t="t" r="r" b="b"/>
              <a:pathLst>
                <a:path w="1468487" h="9115961">
                  <a:moveTo>
                    <a:pt x="1344027" y="9115961"/>
                  </a:moveTo>
                  <a:lnTo>
                    <a:pt x="124460" y="9115961"/>
                  </a:lnTo>
                  <a:cubicBezTo>
                    <a:pt x="55880" y="9115961"/>
                    <a:pt x="0" y="9060082"/>
                    <a:pt x="0" y="899150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991502"/>
                  </a:lnTo>
                  <a:cubicBezTo>
                    <a:pt x="1468487" y="9060082"/>
                    <a:pt x="1412607" y="9115961"/>
                    <a:pt x="1344027" y="9115961"/>
                  </a:cubicBezTo>
                  <a:close/>
                </a:path>
              </a:pathLst>
            </a:custGeom>
            <a:solidFill>
              <a:srgbClr val="82DCF4">
                <a:alpha val="19608"/>
              </a:srgbClr>
            </a:solidFill>
          </p:spPr>
        </p:sp>
      </p:grpSp>
      <p:grpSp>
        <p:nvGrpSpPr>
          <p:cNvPr id="8" name="Group 8"/>
          <p:cNvGrpSpPr/>
          <p:nvPr/>
        </p:nvGrpSpPr>
        <p:grpSpPr>
          <a:xfrm>
            <a:off x="7405620" y="3349373"/>
            <a:ext cx="847666" cy="4864428"/>
            <a:chOff x="0" y="0"/>
            <a:chExt cx="1468487" cy="9115962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1468487" cy="9115961"/>
            </a:xfrm>
            <a:custGeom>
              <a:avLst/>
              <a:gdLst/>
              <a:ahLst/>
              <a:cxnLst/>
              <a:rect l="l" t="t" r="r" b="b"/>
              <a:pathLst>
                <a:path w="1468487" h="9115961">
                  <a:moveTo>
                    <a:pt x="1344027" y="9115961"/>
                  </a:moveTo>
                  <a:lnTo>
                    <a:pt x="124460" y="9115961"/>
                  </a:lnTo>
                  <a:cubicBezTo>
                    <a:pt x="55880" y="9115961"/>
                    <a:pt x="0" y="9060082"/>
                    <a:pt x="0" y="899150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991502"/>
                  </a:lnTo>
                  <a:cubicBezTo>
                    <a:pt x="1468487" y="9060082"/>
                    <a:pt x="1412607" y="9115961"/>
                    <a:pt x="1344027" y="9115961"/>
                  </a:cubicBezTo>
                  <a:close/>
                </a:path>
              </a:pathLst>
            </a:custGeom>
            <a:solidFill>
              <a:srgbClr val="82DCF4">
                <a:alpha val="19608"/>
              </a:srgbClr>
            </a:solidFill>
          </p:spPr>
        </p:sp>
      </p:grpSp>
      <p:grpSp>
        <p:nvGrpSpPr>
          <p:cNvPr id="10" name="Group 10"/>
          <p:cNvGrpSpPr/>
          <p:nvPr/>
        </p:nvGrpSpPr>
        <p:grpSpPr>
          <a:xfrm>
            <a:off x="11405400" y="3314699"/>
            <a:ext cx="847666" cy="4899101"/>
            <a:chOff x="0" y="0"/>
            <a:chExt cx="1468487" cy="9115962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1468487" cy="9115961"/>
            </a:xfrm>
            <a:custGeom>
              <a:avLst/>
              <a:gdLst/>
              <a:ahLst/>
              <a:cxnLst/>
              <a:rect l="l" t="t" r="r" b="b"/>
              <a:pathLst>
                <a:path w="1468487" h="9115961">
                  <a:moveTo>
                    <a:pt x="1344027" y="9115961"/>
                  </a:moveTo>
                  <a:lnTo>
                    <a:pt x="124460" y="9115961"/>
                  </a:lnTo>
                  <a:cubicBezTo>
                    <a:pt x="55880" y="9115961"/>
                    <a:pt x="0" y="9060082"/>
                    <a:pt x="0" y="899150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991502"/>
                  </a:lnTo>
                  <a:cubicBezTo>
                    <a:pt x="1468487" y="9060082"/>
                    <a:pt x="1412607" y="9115961"/>
                    <a:pt x="1344027" y="9115961"/>
                  </a:cubicBezTo>
                  <a:close/>
                </a:path>
              </a:pathLst>
            </a:custGeom>
            <a:solidFill>
              <a:srgbClr val="37C9EF">
                <a:alpha val="19608"/>
              </a:srgbClr>
            </a:solidFill>
          </p:spPr>
        </p:sp>
      </p:grpSp>
      <p:grpSp>
        <p:nvGrpSpPr>
          <p:cNvPr id="12" name="Group 12"/>
          <p:cNvGrpSpPr/>
          <p:nvPr/>
        </p:nvGrpSpPr>
        <p:grpSpPr>
          <a:xfrm>
            <a:off x="13310160" y="3429099"/>
            <a:ext cx="847666" cy="4784701"/>
            <a:chOff x="0" y="0"/>
            <a:chExt cx="1468487" cy="9115962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1468487" cy="9115961"/>
            </a:xfrm>
            <a:custGeom>
              <a:avLst/>
              <a:gdLst/>
              <a:ahLst/>
              <a:cxnLst/>
              <a:rect l="l" t="t" r="r" b="b"/>
              <a:pathLst>
                <a:path w="1468487" h="9115961">
                  <a:moveTo>
                    <a:pt x="1344027" y="9115961"/>
                  </a:moveTo>
                  <a:lnTo>
                    <a:pt x="124460" y="9115961"/>
                  </a:lnTo>
                  <a:cubicBezTo>
                    <a:pt x="55880" y="9115961"/>
                    <a:pt x="0" y="9060082"/>
                    <a:pt x="0" y="899150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991502"/>
                  </a:lnTo>
                  <a:cubicBezTo>
                    <a:pt x="1468487" y="9060082"/>
                    <a:pt x="1412607" y="9115961"/>
                    <a:pt x="1344027" y="9115961"/>
                  </a:cubicBezTo>
                  <a:close/>
                </a:path>
              </a:pathLst>
            </a:custGeom>
            <a:solidFill>
              <a:srgbClr val="37C9EF">
                <a:alpha val="19608"/>
              </a:srgbClr>
            </a:solidFill>
          </p:spPr>
        </p:sp>
      </p:grpSp>
      <p:grpSp>
        <p:nvGrpSpPr>
          <p:cNvPr id="16" name="Group 16"/>
          <p:cNvGrpSpPr/>
          <p:nvPr/>
        </p:nvGrpSpPr>
        <p:grpSpPr>
          <a:xfrm>
            <a:off x="15250519" y="3697283"/>
            <a:ext cx="847666" cy="4516518"/>
            <a:chOff x="0" y="0"/>
            <a:chExt cx="1468487" cy="9115962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1468487" cy="9115961"/>
            </a:xfrm>
            <a:custGeom>
              <a:avLst/>
              <a:gdLst/>
              <a:ahLst/>
              <a:cxnLst/>
              <a:rect l="l" t="t" r="r" b="b"/>
              <a:pathLst>
                <a:path w="1468487" h="9115961">
                  <a:moveTo>
                    <a:pt x="1344027" y="9115961"/>
                  </a:moveTo>
                  <a:lnTo>
                    <a:pt x="124460" y="9115961"/>
                  </a:lnTo>
                  <a:cubicBezTo>
                    <a:pt x="55880" y="9115961"/>
                    <a:pt x="0" y="9060082"/>
                    <a:pt x="0" y="899150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991502"/>
                  </a:lnTo>
                  <a:cubicBezTo>
                    <a:pt x="1468487" y="9060082"/>
                    <a:pt x="1412607" y="9115961"/>
                    <a:pt x="1344027" y="9115961"/>
                  </a:cubicBezTo>
                  <a:close/>
                </a:path>
              </a:pathLst>
            </a:custGeom>
            <a:solidFill>
              <a:srgbClr val="37C9EF">
                <a:alpha val="19608"/>
              </a:srgbClr>
            </a:solidFill>
          </p:spPr>
        </p:sp>
      </p:grpSp>
      <p:grpSp>
        <p:nvGrpSpPr>
          <p:cNvPr id="18" name="Group 18"/>
          <p:cNvGrpSpPr/>
          <p:nvPr/>
        </p:nvGrpSpPr>
        <p:grpSpPr>
          <a:xfrm>
            <a:off x="3132394" y="5356296"/>
            <a:ext cx="847666" cy="2857506"/>
            <a:chOff x="0" y="0"/>
            <a:chExt cx="1468487" cy="4023591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1468487" cy="4023591"/>
            </a:xfrm>
            <a:custGeom>
              <a:avLst/>
              <a:gdLst/>
              <a:ahLst/>
              <a:cxnLst/>
              <a:rect l="l" t="t" r="r" b="b"/>
              <a:pathLst>
                <a:path w="1468487" h="4023591">
                  <a:moveTo>
                    <a:pt x="1344027" y="4023591"/>
                  </a:moveTo>
                  <a:lnTo>
                    <a:pt x="124460" y="4023591"/>
                  </a:lnTo>
                  <a:cubicBezTo>
                    <a:pt x="55880" y="4023591"/>
                    <a:pt x="0" y="3967711"/>
                    <a:pt x="0" y="3899131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3899131"/>
                  </a:lnTo>
                  <a:cubicBezTo>
                    <a:pt x="1468487" y="3967711"/>
                    <a:pt x="1412607" y="4023591"/>
                    <a:pt x="1344027" y="4023591"/>
                  </a:cubicBezTo>
                  <a:close/>
                </a:path>
              </a:pathLst>
            </a:custGeom>
            <a:solidFill>
              <a:srgbClr val="176294"/>
            </a:solidFill>
          </p:spPr>
        </p:sp>
      </p:grpSp>
      <p:grpSp>
        <p:nvGrpSpPr>
          <p:cNvPr id="20" name="Group 20"/>
          <p:cNvGrpSpPr/>
          <p:nvPr/>
        </p:nvGrpSpPr>
        <p:grpSpPr>
          <a:xfrm>
            <a:off x="7405620" y="4762500"/>
            <a:ext cx="847666" cy="3451301"/>
            <a:chOff x="0" y="0"/>
            <a:chExt cx="1468487" cy="5547097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1468487" cy="5547097"/>
            </a:xfrm>
            <a:custGeom>
              <a:avLst/>
              <a:gdLst/>
              <a:ahLst/>
              <a:cxnLst/>
              <a:rect l="l" t="t" r="r" b="b"/>
              <a:pathLst>
                <a:path w="1468487" h="5547097">
                  <a:moveTo>
                    <a:pt x="1344027" y="5547097"/>
                  </a:moveTo>
                  <a:lnTo>
                    <a:pt x="124460" y="5547097"/>
                  </a:lnTo>
                  <a:cubicBezTo>
                    <a:pt x="55880" y="5547097"/>
                    <a:pt x="0" y="5491217"/>
                    <a:pt x="0" y="5422637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5422637"/>
                  </a:lnTo>
                  <a:cubicBezTo>
                    <a:pt x="1468487" y="5491217"/>
                    <a:pt x="1412607" y="5547097"/>
                    <a:pt x="1344027" y="5547097"/>
                  </a:cubicBezTo>
                  <a:close/>
                </a:path>
              </a:pathLst>
            </a:custGeom>
            <a:solidFill>
              <a:srgbClr val="176294"/>
            </a:solidFill>
          </p:spPr>
        </p:sp>
      </p:grpSp>
      <p:grpSp>
        <p:nvGrpSpPr>
          <p:cNvPr id="22" name="Group 22"/>
          <p:cNvGrpSpPr/>
          <p:nvPr/>
        </p:nvGrpSpPr>
        <p:grpSpPr>
          <a:xfrm>
            <a:off x="11405400" y="5602666"/>
            <a:ext cx="847666" cy="2611136"/>
            <a:chOff x="0" y="0"/>
            <a:chExt cx="1468487" cy="4231061"/>
          </a:xfrm>
        </p:grpSpPr>
        <p:sp>
          <p:nvSpPr>
            <p:cNvPr id="23" name="Freeform 23"/>
            <p:cNvSpPr/>
            <p:nvPr/>
          </p:nvSpPr>
          <p:spPr>
            <a:xfrm>
              <a:off x="0" y="0"/>
              <a:ext cx="1468487" cy="4231061"/>
            </a:xfrm>
            <a:custGeom>
              <a:avLst/>
              <a:gdLst/>
              <a:ahLst/>
              <a:cxnLst/>
              <a:rect l="l" t="t" r="r" b="b"/>
              <a:pathLst>
                <a:path w="1468487" h="4231061">
                  <a:moveTo>
                    <a:pt x="1344027" y="4231061"/>
                  </a:moveTo>
                  <a:lnTo>
                    <a:pt x="124460" y="4231061"/>
                  </a:lnTo>
                  <a:cubicBezTo>
                    <a:pt x="55880" y="4231061"/>
                    <a:pt x="0" y="4175181"/>
                    <a:pt x="0" y="4106601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4106601"/>
                  </a:lnTo>
                  <a:cubicBezTo>
                    <a:pt x="1468487" y="4175181"/>
                    <a:pt x="1412607" y="4231061"/>
                    <a:pt x="1344027" y="4231061"/>
                  </a:cubicBezTo>
                  <a:close/>
                </a:path>
              </a:pathLst>
            </a:custGeom>
            <a:solidFill>
              <a:srgbClr val="38B6FF"/>
            </a:solidFill>
          </p:spPr>
        </p:sp>
      </p:grpSp>
      <p:grpSp>
        <p:nvGrpSpPr>
          <p:cNvPr id="24" name="Group 24"/>
          <p:cNvGrpSpPr/>
          <p:nvPr/>
        </p:nvGrpSpPr>
        <p:grpSpPr>
          <a:xfrm>
            <a:off x="13310160" y="5474448"/>
            <a:ext cx="847666" cy="2739355"/>
            <a:chOff x="0" y="0"/>
            <a:chExt cx="1468487" cy="4231061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1468487" cy="4231061"/>
            </a:xfrm>
            <a:custGeom>
              <a:avLst/>
              <a:gdLst/>
              <a:ahLst/>
              <a:cxnLst/>
              <a:rect l="l" t="t" r="r" b="b"/>
              <a:pathLst>
                <a:path w="1468487" h="4231061">
                  <a:moveTo>
                    <a:pt x="1344027" y="4231061"/>
                  </a:moveTo>
                  <a:lnTo>
                    <a:pt x="124460" y="4231061"/>
                  </a:lnTo>
                  <a:cubicBezTo>
                    <a:pt x="55880" y="4231061"/>
                    <a:pt x="0" y="4175181"/>
                    <a:pt x="0" y="4106601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4106601"/>
                  </a:lnTo>
                  <a:cubicBezTo>
                    <a:pt x="1468487" y="4175181"/>
                    <a:pt x="1412607" y="4231061"/>
                    <a:pt x="1344027" y="4231061"/>
                  </a:cubicBezTo>
                  <a:close/>
                </a:path>
              </a:pathLst>
            </a:custGeom>
            <a:solidFill>
              <a:srgbClr val="5271FF"/>
            </a:solidFill>
          </p:spPr>
        </p:sp>
      </p:grpSp>
      <p:grpSp>
        <p:nvGrpSpPr>
          <p:cNvPr id="26" name="Group 26"/>
          <p:cNvGrpSpPr/>
          <p:nvPr/>
        </p:nvGrpSpPr>
        <p:grpSpPr>
          <a:xfrm>
            <a:off x="15250519" y="5771475"/>
            <a:ext cx="847666" cy="2442327"/>
            <a:chOff x="0" y="0"/>
            <a:chExt cx="1468487" cy="4231061"/>
          </a:xfrm>
        </p:grpSpPr>
        <p:sp>
          <p:nvSpPr>
            <p:cNvPr id="27" name="Freeform 27"/>
            <p:cNvSpPr/>
            <p:nvPr/>
          </p:nvSpPr>
          <p:spPr>
            <a:xfrm>
              <a:off x="0" y="0"/>
              <a:ext cx="1468487" cy="4231061"/>
            </a:xfrm>
            <a:custGeom>
              <a:avLst/>
              <a:gdLst/>
              <a:ahLst/>
              <a:cxnLst/>
              <a:rect l="l" t="t" r="r" b="b"/>
              <a:pathLst>
                <a:path w="1468487" h="4231061">
                  <a:moveTo>
                    <a:pt x="1344027" y="4231061"/>
                  </a:moveTo>
                  <a:lnTo>
                    <a:pt x="124460" y="4231061"/>
                  </a:lnTo>
                  <a:cubicBezTo>
                    <a:pt x="55880" y="4231061"/>
                    <a:pt x="0" y="4175181"/>
                    <a:pt x="0" y="4106601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4106601"/>
                  </a:lnTo>
                  <a:cubicBezTo>
                    <a:pt x="1468487" y="4175181"/>
                    <a:pt x="1412607" y="4231061"/>
                    <a:pt x="1344027" y="4231061"/>
                  </a:cubicBezTo>
                  <a:close/>
                </a:path>
              </a:pathLst>
            </a:custGeom>
            <a:solidFill>
              <a:srgbClr val="004AAD"/>
            </a:solidFill>
          </p:spPr>
        </p:sp>
      </p:grpSp>
      <p:grpSp>
        <p:nvGrpSpPr>
          <p:cNvPr id="28" name="Group 28"/>
          <p:cNvGrpSpPr/>
          <p:nvPr/>
        </p:nvGrpSpPr>
        <p:grpSpPr>
          <a:xfrm>
            <a:off x="5189929" y="4264267"/>
            <a:ext cx="847666" cy="3949535"/>
            <a:chOff x="0" y="0"/>
            <a:chExt cx="1468487" cy="4821048"/>
          </a:xfrm>
        </p:grpSpPr>
        <p:sp>
          <p:nvSpPr>
            <p:cNvPr id="29" name="Freeform 29"/>
            <p:cNvSpPr/>
            <p:nvPr/>
          </p:nvSpPr>
          <p:spPr>
            <a:xfrm>
              <a:off x="0" y="0"/>
              <a:ext cx="1468487" cy="4821048"/>
            </a:xfrm>
            <a:custGeom>
              <a:avLst/>
              <a:gdLst/>
              <a:ahLst/>
              <a:cxnLst/>
              <a:rect l="l" t="t" r="r" b="b"/>
              <a:pathLst>
                <a:path w="1468487" h="4821048">
                  <a:moveTo>
                    <a:pt x="1344027" y="4821048"/>
                  </a:moveTo>
                  <a:lnTo>
                    <a:pt x="124460" y="4821048"/>
                  </a:lnTo>
                  <a:cubicBezTo>
                    <a:pt x="55880" y="4821048"/>
                    <a:pt x="0" y="4765168"/>
                    <a:pt x="0" y="4696589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4696589"/>
                  </a:lnTo>
                  <a:cubicBezTo>
                    <a:pt x="1468487" y="4765168"/>
                    <a:pt x="1412607" y="4821048"/>
                    <a:pt x="1344027" y="4821048"/>
                  </a:cubicBezTo>
                  <a:close/>
                </a:path>
              </a:pathLst>
            </a:custGeom>
            <a:solidFill>
              <a:srgbClr val="176294"/>
            </a:solidFill>
          </p:spPr>
        </p:sp>
      </p:grpSp>
      <p:grpSp>
        <p:nvGrpSpPr>
          <p:cNvPr id="30" name="Group 30"/>
          <p:cNvGrpSpPr/>
          <p:nvPr/>
        </p:nvGrpSpPr>
        <p:grpSpPr>
          <a:xfrm>
            <a:off x="9450673" y="4649955"/>
            <a:ext cx="847666" cy="3563847"/>
            <a:chOff x="0" y="0"/>
            <a:chExt cx="1468487" cy="6173971"/>
          </a:xfrm>
        </p:grpSpPr>
        <p:sp>
          <p:nvSpPr>
            <p:cNvPr id="31" name="Freeform 31"/>
            <p:cNvSpPr/>
            <p:nvPr/>
          </p:nvSpPr>
          <p:spPr>
            <a:xfrm>
              <a:off x="0" y="0"/>
              <a:ext cx="1468487" cy="6173971"/>
            </a:xfrm>
            <a:custGeom>
              <a:avLst/>
              <a:gdLst/>
              <a:ahLst/>
              <a:cxnLst/>
              <a:rect l="l" t="t" r="r" b="b"/>
              <a:pathLst>
                <a:path w="1468487" h="6173971">
                  <a:moveTo>
                    <a:pt x="1344027" y="6173970"/>
                  </a:moveTo>
                  <a:lnTo>
                    <a:pt x="124460" y="6173970"/>
                  </a:lnTo>
                  <a:cubicBezTo>
                    <a:pt x="55880" y="6173970"/>
                    <a:pt x="0" y="6118091"/>
                    <a:pt x="0" y="6049511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6049511"/>
                  </a:lnTo>
                  <a:cubicBezTo>
                    <a:pt x="1468487" y="6118091"/>
                    <a:pt x="1412607" y="6173971"/>
                    <a:pt x="1344027" y="6173971"/>
                  </a:cubicBezTo>
                  <a:close/>
                </a:path>
              </a:pathLst>
            </a:custGeom>
            <a:solidFill>
              <a:srgbClr val="176294"/>
            </a:solidFill>
          </p:spPr>
        </p:sp>
      </p:grpSp>
      <p:pic>
        <p:nvPicPr>
          <p:cNvPr id="32" name="Picture 3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763046" y="194163"/>
            <a:ext cx="2144842" cy="1135873"/>
          </a:xfrm>
          <a:prstGeom prst="rect">
            <a:avLst/>
          </a:prstGeom>
        </p:spPr>
      </p:pic>
      <p:sp>
        <p:nvSpPr>
          <p:cNvPr id="33" name="TextBox 33"/>
          <p:cNvSpPr txBox="1"/>
          <p:nvPr/>
        </p:nvSpPr>
        <p:spPr>
          <a:xfrm>
            <a:off x="5942806" y="61269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34" name="TextBox 34"/>
          <p:cNvSpPr txBox="1"/>
          <p:nvPr/>
        </p:nvSpPr>
        <p:spPr>
          <a:xfrm>
            <a:off x="3132394" y="8711978"/>
            <a:ext cx="94257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2018</a:t>
            </a:r>
          </a:p>
        </p:txBody>
      </p:sp>
      <p:sp>
        <p:nvSpPr>
          <p:cNvPr id="35" name="TextBox 35"/>
          <p:cNvSpPr txBox="1"/>
          <p:nvPr/>
        </p:nvSpPr>
        <p:spPr>
          <a:xfrm>
            <a:off x="5193953" y="8711978"/>
            <a:ext cx="934530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2019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7316216" y="8711978"/>
            <a:ext cx="1026473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2020</a:t>
            </a:r>
          </a:p>
        </p:txBody>
      </p:sp>
      <p:sp>
        <p:nvSpPr>
          <p:cNvPr id="37" name="TextBox 37"/>
          <p:cNvSpPr txBox="1"/>
          <p:nvPr/>
        </p:nvSpPr>
        <p:spPr>
          <a:xfrm>
            <a:off x="9417218" y="8711978"/>
            <a:ext cx="914576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2021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11333194" y="8711978"/>
            <a:ext cx="1093559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13538A"/>
                </a:solidFill>
                <a:latin typeface="Montserrat Extra-Bold"/>
              </a:rPr>
              <a:t>2022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13237127" y="8711978"/>
            <a:ext cx="1093559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13538A"/>
                </a:solidFill>
                <a:latin typeface="Montserrat Extra-Bold"/>
              </a:rPr>
              <a:t>2023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15158139" y="8711978"/>
            <a:ext cx="1032426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2024</a:t>
            </a:r>
          </a:p>
        </p:txBody>
      </p:sp>
      <p:sp>
        <p:nvSpPr>
          <p:cNvPr id="41" name="TextBox 41"/>
          <p:cNvSpPr txBox="1"/>
          <p:nvPr/>
        </p:nvSpPr>
        <p:spPr>
          <a:xfrm rot="-5400000">
            <a:off x="-2138640" y="5078820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13538A"/>
                </a:solidFill>
                <a:latin typeface="Montserrat Extra-Bold"/>
              </a:rPr>
              <a:t>МЛРД. РУБ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2757198" y="3441235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004AAD"/>
                </a:solidFill>
                <a:latin typeface="Montserrat Extra-Bold"/>
              </a:rPr>
              <a:t>2.443</a:t>
            </a:r>
            <a:endParaRPr lang="en-US" sz="314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43" name="TextBox 43"/>
          <p:cNvSpPr txBox="1"/>
          <p:nvPr/>
        </p:nvSpPr>
        <p:spPr>
          <a:xfrm>
            <a:off x="4822407" y="2084113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004AAD"/>
                </a:solidFill>
                <a:latin typeface="Montserrat Extra-Bold"/>
              </a:rPr>
              <a:t>4.356</a:t>
            </a:r>
            <a:endParaRPr lang="en-US" sz="314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44" name="TextBox 44"/>
          <p:cNvSpPr txBox="1"/>
          <p:nvPr/>
        </p:nvSpPr>
        <p:spPr>
          <a:xfrm>
            <a:off x="7017943" y="2785115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004AAD"/>
                </a:solidFill>
                <a:latin typeface="Montserrat Extra-Bold"/>
              </a:rPr>
              <a:t>3.488</a:t>
            </a:r>
            <a:endParaRPr lang="en-US" sz="314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45" name="TextBox 45"/>
          <p:cNvSpPr txBox="1"/>
          <p:nvPr/>
        </p:nvSpPr>
        <p:spPr>
          <a:xfrm>
            <a:off x="9083152" y="2084113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004AAD"/>
                </a:solidFill>
                <a:latin typeface="Montserrat Extra-Bold"/>
              </a:rPr>
              <a:t>4.039</a:t>
            </a:r>
            <a:endParaRPr lang="en-US" sz="314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11012895" y="2493516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004AAD"/>
                </a:solidFill>
                <a:latin typeface="Montserrat Extra-Bold"/>
              </a:rPr>
              <a:t>3.595</a:t>
            </a:r>
            <a:endParaRPr lang="en-US" sz="314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2962516" y="2652602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004AAD"/>
                </a:solidFill>
                <a:latin typeface="Montserrat Extra-Bold"/>
              </a:rPr>
              <a:t>3.578</a:t>
            </a:r>
            <a:endParaRPr lang="en-US" sz="314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48" name="TextBox 48"/>
          <p:cNvSpPr txBox="1"/>
          <p:nvPr/>
        </p:nvSpPr>
        <p:spPr>
          <a:xfrm>
            <a:off x="14967109" y="2852485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004AAD"/>
                </a:solidFill>
                <a:latin typeface="Montserrat Extra-Bold"/>
              </a:rPr>
              <a:t>3.274</a:t>
            </a:r>
            <a:endParaRPr lang="en-US" sz="3147" dirty="0">
              <a:solidFill>
                <a:srgbClr val="004AAD"/>
              </a:solidFill>
              <a:latin typeface="Montserrat Extra-Bold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6265940" y="613877"/>
            <a:ext cx="5756121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2C92D5"/>
                </a:solidFill>
                <a:latin typeface="Montserrat Extra-Bold"/>
              </a:rPr>
              <a:t>Расходы бюджета города</a:t>
            </a:r>
          </a:p>
        </p:txBody>
      </p:sp>
      <p:grpSp>
        <p:nvGrpSpPr>
          <p:cNvPr id="50" name="Group 50"/>
          <p:cNvGrpSpPr>
            <a:grpSpLocks noChangeAspect="1"/>
          </p:cNvGrpSpPr>
          <p:nvPr/>
        </p:nvGrpSpPr>
        <p:grpSpPr>
          <a:xfrm>
            <a:off x="16324163" y="8981975"/>
            <a:ext cx="3927674" cy="3927674"/>
            <a:chOff x="0" y="0"/>
            <a:chExt cx="6355080" cy="6355080"/>
          </a:xfrm>
        </p:grpSpPr>
        <p:sp>
          <p:nvSpPr>
            <p:cNvPr id="51" name="Freeform 51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2" name="Group 52"/>
          <p:cNvGrpSpPr/>
          <p:nvPr/>
        </p:nvGrpSpPr>
        <p:grpSpPr>
          <a:xfrm>
            <a:off x="352051" y="-150939"/>
            <a:ext cx="504017" cy="557766"/>
            <a:chOff x="0" y="0"/>
            <a:chExt cx="672023" cy="743688"/>
          </a:xfrm>
        </p:grpSpPr>
        <p:grpSp>
          <p:nvGrpSpPr>
            <p:cNvPr id="53" name="Group 53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54" name="Freeform 54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55" name="Group 55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56" name="Freeform 56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57" name="Group 57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58" name="Freeform 58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59" name="Group 59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60" name="Freeform 60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61" name="Group 61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62" name="Freeform 62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63" name="Group 63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64" name="Freeform 64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65" name="Group 65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66" name="Freeform 66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67" name="Group 67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68" name="Freeform 68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69" name="Group 69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70" name="Freeform 70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sp>
        <p:nvSpPr>
          <p:cNvPr id="71" name="AutoShape 71"/>
          <p:cNvSpPr/>
          <p:nvPr/>
        </p:nvSpPr>
        <p:spPr>
          <a:xfrm rot="-5400000">
            <a:off x="-1412605" y="5545178"/>
            <a:ext cx="5968369" cy="0"/>
          </a:xfrm>
          <a:prstGeom prst="line">
            <a:avLst/>
          </a:prstGeom>
          <a:ln w="47625" cap="rnd">
            <a:solidFill>
              <a:srgbClr val="000000">
                <a:alpha val="10980"/>
              </a:srgbClr>
            </a:solidFill>
            <a:prstDash val="solid"/>
            <a:headEnd type="none" w="sm" len="sm"/>
            <a:tailEnd type="none" w="sm" len="sm"/>
          </a:ln>
        </p:spPr>
      </p:sp>
      <p:sp>
        <p:nvSpPr>
          <p:cNvPr id="72" name="AutoShape 72"/>
          <p:cNvSpPr/>
          <p:nvPr/>
        </p:nvSpPr>
        <p:spPr>
          <a:xfrm rot="12278">
            <a:off x="1633527" y="8529363"/>
            <a:ext cx="15711480" cy="0"/>
          </a:xfrm>
          <a:prstGeom prst="line">
            <a:avLst/>
          </a:prstGeom>
          <a:ln w="47625" cap="rnd">
            <a:solidFill>
              <a:srgbClr val="000000">
                <a:alpha val="10980"/>
              </a:srgbClr>
            </a:solidFill>
            <a:prstDash val="solid"/>
            <a:headEnd type="none" w="sm" len="sm"/>
            <a:tailEnd type="none" w="sm" len="sm"/>
          </a:ln>
        </p:spPr>
      </p:sp>
      <p:sp>
        <p:nvSpPr>
          <p:cNvPr id="73" name="TextBox 73"/>
          <p:cNvSpPr txBox="1"/>
          <p:nvPr/>
        </p:nvSpPr>
        <p:spPr>
          <a:xfrm rot="-5400000">
            <a:off x="2731534" y="6506125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 smtClean="0">
                <a:solidFill>
                  <a:srgbClr val="FFFFFF"/>
                </a:solidFill>
                <a:latin typeface="Montserrat Extra-Bold"/>
              </a:rPr>
              <a:t>1.520</a:t>
            </a:r>
            <a:endParaRPr lang="en-US" sz="3147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74" name="TextBox 74"/>
          <p:cNvSpPr txBox="1"/>
          <p:nvPr/>
        </p:nvSpPr>
        <p:spPr>
          <a:xfrm rot="-5400000">
            <a:off x="4830083" y="5770642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 smtClean="0">
                <a:solidFill>
                  <a:srgbClr val="FFFFFF"/>
                </a:solidFill>
                <a:latin typeface="Montserrat Extra-Bold"/>
              </a:rPr>
              <a:t>3.308</a:t>
            </a:r>
            <a:endParaRPr lang="en-US" sz="3147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75" name="TextBox 75"/>
          <p:cNvSpPr txBox="1"/>
          <p:nvPr/>
        </p:nvSpPr>
        <p:spPr>
          <a:xfrm rot="-5400000">
            <a:off x="7059170" y="6029165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 smtClean="0">
                <a:solidFill>
                  <a:srgbClr val="FFFFFF"/>
                </a:solidFill>
                <a:latin typeface="Montserrat Extra-Bold"/>
              </a:rPr>
              <a:t>2.436</a:t>
            </a:r>
            <a:endParaRPr lang="en-US" sz="3147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76" name="TextBox 76"/>
          <p:cNvSpPr txBox="1"/>
          <p:nvPr/>
        </p:nvSpPr>
        <p:spPr>
          <a:xfrm rot="-5400000">
            <a:off x="9109294" y="6211069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 smtClean="0">
                <a:solidFill>
                  <a:srgbClr val="FFFFFF"/>
                </a:solidFill>
                <a:latin typeface="Montserrat Extra-Bold"/>
              </a:rPr>
              <a:t>2.856</a:t>
            </a:r>
            <a:endParaRPr lang="en-US" sz="3147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77" name="TextBox 77"/>
          <p:cNvSpPr txBox="1"/>
          <p:nvPr/>
        </p:nvSpPr>
        <p:spPr>
          <a:xfrm rot="-5400000">
            <a:off x="11036015" y="6480104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 smtClean="0">
                <a:solidFill>
                  <a:srgbClr val="FFFFFF"/>
                </a:solidFill>
                <a:latin typeface="Montserrat Extra-Bold"/>
              </a:rPr>
              <a:t>2.372</a:t>
            </a:r>
            <a:endParaRPr lang="en-US" sz="3147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78" name="TextBox 78"/>
          <p:cNvSpPr txBox="1"/>
          <p:nvPr/>
        </p:nvSpPr>
        <p:spPr>
          <a:xfrm rot="-5400000">
            <a:off x="12909302" y="6506125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 smtClean="0">
                <a:solidFill>
                  <a:srgbClr val="FFFFFF"/>
                </a:solidFill>
                <a:latin typeface="Montserrat Extra-Bold"/>
              </a:rPr>
              <a:t>2.400</a:t>
            </a:r>
            <a:endParaRPr lang="en-US" sz="3147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79" name="TextBox 79"/>
          <p:cNvSpPr txBox="1"/>
          <p:nvPr/>
        </p:nvSpPr>
        <p:spPr>
          <a:xfrm rot="-5400000">
            <a:off x="14849660" y="6506125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 smtClean="0">
                <a:solidFill>
                  <a:srgbClr val="FFFFFF"/>
                </a:solidFill>
                <a:latin typeface="Montserrat Extra-Bold"/>
              </a:rPr>
              <a:t>2.124</a:t>
            </a:r>
            <a:endParaRPr lang="en-US" sz="3147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80" name="AutoShape 80"/>
          <p:cNvSpPr/>
          <p:nvPr/>
        </p:nvSpPr>
        <p:spPr>
          <a:xfrm rot="-968420" flipV="1">
            <a:off x="3715683" y="3163762"/>
            <a:ext cx="1977595" cy="926514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81" name="AutoShape 81"/>
          <p:cNvSpPr/>
          <p:nvPr/>
        </p:nvSpPr>
        <p:spPr>
          <a:xfrm rot="-649446">
            <a:off x="5612537" y="2709726"/>
            <a:ext cx="2008530" cy="991621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82" name="AutoShape 82"/>
          <p:cNvSpPr/>
          <p:nvPr/>
        </p:nvSpPr>
        <p:spPr>
          <a:xfrm rot="-653479" flipV="1">
            <a:off x="7683002" y="3277076"/>
            <a:ext cx="2323335" cy="21099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83" name="AutoShape 83"/>
          <p:cNvSpPr/>
          <p:nvPr/>
        </p:nvSpPr>
        <p:spPr>
          <a:xfrm rot="-665604">
            <a:off x="13944925" y="3555740"/>
            <a:ext cx="1607041" cy="549718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84" name="AutoShape 84"/>
          <p:cNvSpPr/>
          <p:nvPr/>
        </p:nvSpPr>
        <p:spPr>
          <a:xfrm rot="-665604">
            <a:off x="10050011" y="2879425"/>
            <a:ext cx="1667987" cy="667099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85" name="AutoShape 85"/>
          <p:cNvSpPr/>
          <p:nvPr/>
        </p:nvSpPr>
        <p:spPr>
          <a:xfrm rot="-665604" flipH="1" flipV="1">
            <a:off x="11817901" y="3181357"/>
            <a:ext cx="2037845" cy="731215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86" name="TextBox 86"/>
          <p:cNvSpPr txBox="1"/>
          <p:nvPr/>
        </p:nvSpPr>
        <p:spPr>
          <a:xfrm rot="-5400000">
            <a:off x="2757197" y="4548624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176294"/>
                </a:solidFill>
                <a:latin typeface="Montserrat Extra-Bold"/>
              </a:rPr>
              <a:t>923</a:t>
            </a:r>
            <a:endParaRPr lang="en-US" sz="3147" dirty="0">
              <a:solidFill>
                <a:srgbClr val="176294"/>
              </a:solidFill>
              <a:latin typeface="Montserrat Extra-Bold"/>
            </a:endParaRPr>
          </a:p>
        </p:txBody>
      </p:sp>
      <p:sp>
        <p:nvSpPr>
          <p:cNvPr id="87" name="TextBox 87"/>
          <p:cNvSpPr txBox="1"/>
          <p:nvPr/>
        </p:nvSpPr>
        <p:spPr>
          <a:xfrm rot="-5400000">
            <a:off x="4854158" y="3354578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176294"/>
                </a:solidFill>
                <a:latin typeface="Montserrat Extra-Bold"/>
              </a:rPr>
              <a:t>1.048</a:t>
            </a:r>
            <a:endParaRPr lang="en-US" sz="3147" dirty="0">
              <a:solidFill>
                <a:srgbClr val="176294"/>
              </a:solidFill>
              <a:latin typeface="Montserrat Extra-Bold"/>
            </a:endParaRPr>
          </a:p>
        </p:txBody>
      </p:sp>
      <p:sp>
        <p:nvSpPr>
          <p:cNvPr id="88" name="TextBox 88"/>
          <p:cNvSpPr txBox="1"/>
          <p:nvPr/>
        </p:nvSpPr>
        <p:spPr>
          <a:xfrm rot="-5400000">
            <a:off x="7054635" y="3823925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176294"/>
                </a:solidFill>
                <a:latin typeface="Montserrat Extra-Bold"/>
              </a:rPr>
              <a:t>1.052</a:t>
            </a:r>
            <a:endParaRPr lang="en-US" sz="3147" dirty="0">
              <a:solidFill>
                <a:srgbClr val="176294"/>
              </a:solidFill>
              <a:latin typeface="Montserrat Extra-Bold"/>
            </a:endParaRPr>
          </a:p>
        </p:txBody>
      </p:sp>
      <p:sp>
        <p:nvSpPr>
          <p:cNvPr id="89" name="TextBox 89"/>
          <p:cNvSpPr txBox="1"/>
          <p:nvPr/>
        </p:nvSpPr>
        <p:spPr>
          <a:xfrm rot="-5400000">
            <a:off x="9061769" y="3678289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176294"/>
                </a:solidFill>
                <a:latin typeface="Montserrat Extra-Bold"/>
              </a:rPr>
              <a:t>1.183</a:t>
            </a:r>
            <a:endParaRPr lang="en-US" sz="3147" dirty="0">
              <a:solidFill>
                <a:srgbClr val="176294"/>
              </a:solidFill>
              <a:latin typeface="Montserrat Extra-Bold"/>
            </a:endParaRPr>
          </a:p>
        </p:txBody>
      </p:sp>
      <p:sp>
        <p:nvSpPr>
          <p:cNvPr id="90" name="TextBox 90"/>
          <p:cNvSpPr txBox="1"/>
          <p:nvPr/>
        </p:nvSpPr>
        <p:spPr>
          <a:xfrm rot="-5400000">
            <a:off x="11037878" y="4176554"/>
            <a:ext cx="1582709" cy="5642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176294"/>
                </a:solidFill>
                <a:latin typeface="Montserrat Extra-Bold"/>
              </a:rPr>
              <a:t>1.223</a:t>
            </a:r>
            <a:endParaRPr lang="en-US" sz="3147" dirty="0">
              <a:solidFill>
                <a:srgbClr val="176294"/>
              </a:solidFill>
              <a:latin typeface="Montserrat Extra-Bold"/>
            </a:endParaRPr>
          </a:p>
        </p:txBody>
      </p:sp>
      <p:sp>
        <p:nvSpPr>
          <p:cNvPr id="91" name="TextBox 91"/>
          <p:cNvSpPr txBox="1"/>
          <p:nvPr/>
        </p:nvSpPr>
        <p:spPr>
          <a:xfrm rot="-5400000">
            <a:off x="12945597" y="4257211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 smtClean="0">
                <a:solidFill>
                  <a:srgbClr val="176294"/>
                </a:solidFill>
                <a:latin typeface="Montserrat Extra-Bold"/>
              </a:rPr>
              <a:t>1.178</a:t>
            </a:r>
            <a:endParaRPr lang="en-US" sz="3147" dirty="0">
              <a:solidFill>
                <a:srgbClr val="176294"/>
              </a:solidFill>
              <a:latin typeface="Montserrat Extra-Bold"/>
            </a:endParaRPr>
          </a:p>
        </p:txBody>
      </p:sp>
      <p:sp>
        <p:nvSpPr>
          <p:cNvPr id="92" name="TextBox 92"/>
          <p:cNvSpPr txBox="1"/>
          <p:nvPr/>
        </p:nvSpPr>
        <p:spPr>
          <a:xfrm rot="-5400000">
            <a:off x="14882997" y="4417451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 smtClean="0">
                <a:solidFill>
                  <a:srgbClr val="176294"/>
                </a:solidFill>
                <a:latin typeface="Montserrat Extra-Bold"/>
              </a:rPr>
              <a:t>1.150</a:t>
            </a:r>
            <a:endParaRPr lang="en-US" sz="3147" dirty="0">
              <a:solidFill>
                <a:srgbClr val="176294"/>
              </a:solidFill>
              <a:latin typeface="Montserrat Extra-Bold"/>
            </a:endParaRPr>
          </a:p>
        </p:txBody>
      </p:sp>
      <p:sp>
        <p:nvSpPr>
          <p:cNvPr id="93" name="TextBox 42"/>
          <p:cNvSpPr txBox="1"/>
          <p:nvPr/>
        </p:nvSpPr>
        <p:spPr>
          <a:xfrm>
            <a:off x="2958359" y="2341483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dirty="0" smtClean="0">
                <a:solidFill>
                  <a:srgbClr val="C00000"/>
                </a:solidFill>
                <a:latin typeface="Montserrat Extra-Bold"/>
              </a:rPr>
              <a:t>+</a:t>
            </a:r>
            <a:r>
              <a:rPr lang="en-US" sz="3147" dirty="0" smtClean="0">
                <a:solidFill>
                  <a:srgbClr val="C00000"/>
                </a:solidFill>
                <a:latin typeface="Montserrat Extra-Bold"/>
              </a:rPr>
              <a:t>1.152</a:t>
            </a:r>
            <a:endParaRPr lang="en-US" sz="3147" dirty="0">
              <a:solidFill>
                <a:srgbClr val="C00000"/>
              </a:solidFill>
              <a:latin typeface="Montserrat Extra-Bold"/>
            </a:endParaRPr>
          </a:p>
        </p:txBody>
      </p:sp>
      <p:sp>
        <p:nvSpPr>
          <p:cNvPr id="94" name="TextBox 42"/>
          <p:cNvSpPr txBox="1"/>
          <p:nvPr/>
        </p:nvSpPr>
        <p:spPr>
          <a:xfrm>
            <a:off x="5918590" y="3831320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 smtClean="0">
                <a:solidFill>
                  <a:srgbClr val="C00000"/>
                </a:solidFill>
                <a:latin typeface="Montserrat Extra-Bold"/>
              </a:rPr>
              <a:t>-761</a:t>
            </a:r>
            <a:endParaRPr lang="en-US" sz="3147" dirty="0">
              <a:solidFill>
                <a:srgbClr val="C00000"/>
              </a:solidFill>
              <a:latin typeface="Montserrat Extra-Bold"/>
            </a:endParaRPr>
          </a:p>
        </p:txBody>
      </p:sp>
      <p:sp>
        <p:nvSpPr>
          <p:cNvPr id="95" name="TextBox 42"/>
          <p:cNvSpPr txBox="1"/>
          <p:nvPr/>
        </p:nvSpPr>
        <p:spPr>
          <a:xfrm>
            <a:off x="7823274" y="1968407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 smtClean="0">
                <a:solidFill>
                  <a:srgbClr val="C00000"/>
                </a:solidFill>
                <a:latin typeface="Montserrat Extra-Bold"/>
              </a:rPr>
              <a:t>+107</a:t>
            </a:r>
            <a:endParaRPr lang="en-US" sz="3147" dirty="0">
              <a:solidFill>
                <a:srgbClr val="C00000"/>
              </a:solidFill>
              <a:latin typeface="Montserrat Extra-Bold"/>
            </a:endParaRPr>
          </a:p>
        </p:txBody>
      </p:sp>
      <p:sp>
        <p:nvSpPr>
          <p:cNvPr id="96" name="TextBox 42"/>
          <p:cNvSpPr txBox="1"/>
          <p:nvPr/>
        </p:nvSpPr>
        <p:spPr>
          <a:xfrm>
            <a:off x="10085088" y="3747985"/>
            <a:ext cx="1582709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 smtClean="0">
                <a:solidFill>
                  <a:srgbClr val="C00000"/>
                </a:solidFill>
                <a:latin typeface="Montserrat Extra-Bold"/>
              </a:rPr>
              <a:t>-444</a:t>
            </a:r>
            <a:endParaRPr lang="en-US" sz="3147" dirty="0">
              <a:solidFill>
                <a:srgbClr val="C00000"/>
              </a:solidFill>
              <a:latin typeface="Montserrat Extra-Bold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 rot="5433232">
            <a:off x="931875" y="4190247"/>
            <a:ext cx="3960299" cy="0"/>
          </a:xfrm>
          <a:prstGeom prst="line">
            <a:avLst/>
          </a:prstGeom>
          <a:ln w="47625" cap="rnd">
            <a:solidFill>
              <a:srgbClr val="176294"/>
            </a:solidFill>
            <a:prstDash val="solid"/>
            <a:headEnd type="oval" w="lg" len="lg"/>
            <a:tailEnd type="oval" w="lg" len="lg"/>
          </a:ln>
        </p:spPr>
      </p:sp>
      <p:grpSp>
        <p:nvGrpSpPr>
          <p:cNvPr id="3" name="Group 3"/>
          <p:cNvGrpSpPr/>
          <p:nvPr/>
        </p:nvGrpSpPr>
        <p:grpSpPr>
          <a:xfrm>
            <a:off x="10965595" y="2002818"/>
            <a:ext cx="5591157" cy="1782377"/>
            <a:chOff x="0" y="0"/>
            <a:chExt cx="7454875" cy="2376503"/>
          </a:xfrm>
        </p:grpSpPr>
        <p:grpSp>
          <p:nvGrpSpPr>
            <p:cNvPr id="4" name="Group 4"/>
            <p:cNvGrpSpPr/>
            <p:nvPr/>
          </p:nvGrpSpPr>
          <p:grpSpPr>
            <a:xfrm>
              <a:off x="0" y="0"/>
              <a:ext cx="7454875" cy="601781"/>
              <a:chOff x="0" y="0"/>
              <a:chExt cx="16389181" cy="1322986"/>
            </a:xfrm>
          </p:grpSpPr>
          <p:sp>
            <p:nvSpPr>
              <p:cNvPr id="5" name="Freeform 5"/>
              <p:cNvSpPr/>
              <p:nvPr/>
            </p:nvSpPr>
            <p:spPr>
              <a:xfrm>
                <a:off x="0" y="0"/>
                <a:ext cx="16389181" cy="1322986"/>
              </a:xfrm>
              <a:custGeom>
                <a:avLst/>
                <a:gdLst/>
                <a:ahLst/>
                <a:cxnLst/>
                <a:rect l="l" t="t" r="r" b="b"/>
                <a:pathLst>
                  <a:path w="16389181" h="1322986">
                    <a:moveTo>
                      <a:pt x="0" y="0"/>
                    </a:moveTo>
                    <a:lnTo>
                      <a:pt x="16389181" y="0"/>
                    </a:lnTo>
                    <a:lnTo>
                      <a:pt x="16389181" y="1322986"/>
                    </a:lnTo>
                    <a:lnTo>
                      <a:pt x="0" y="1322986"/>
                    </a:lnTo>
                    <a:close/>
                  </a:path>
                </a:pathLst>
              </a:custGeom>
              <a:solidFill>
                <a:srgbClr val="176294"/>
              </a:solidFill>
              <a:ln>
                <a:noFill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</p:spPr>
          </p:sp>
        </p:grpSp>
        <p:sp>
          <p:nvSpPr>
            <p:cNvPr id="6" name="AutoShape 6"/>
            <p:cNvSpPr/>
            <p:nvPr/>
          </p:nvSpPr>
          <p:spPr>
            <a:xfrm rot="5400000">
              <a:off x="-899295" y="1418844"/>
              <a:ext cx="1866682" cy="0"/>
            </a:xfrm>
            <a:prstGeom prst="line">
              <a:avLst/>
            </a:prstGeom>
            <a:ln w="48636" cap="rnd">
              <a:solidFill>
                <a:srgbClr val="176294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7" name="AutoShape 7"/>
            <p:cNvSpPr/>
            <p:nvPr/>
          </p:nvSpPr>
          <p:spPr>
            <a:xfrm rot="5400000">
              <a:off x="3063464" y="1418844"/>
              <a:ext cx="1866682" cy="0"/>
            </a:xfrm>
            <a:prstGeom prst="line">
              <a:avLst/>
            </a:prstGeom>
            <a:ln w="48636" cap="rnd">
              <a:solidFill>
                <a:srgbClr val="176294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8" name="AutoShape 8"/>
            <p:cNvSpPr/>
            <p:nvPr/>
          </p:nvSpPr>
          <p:spPr>
            <a:xfrm>
              <a:off x="58364" y="1063614"/>
              <a:ext cx="7396511" cy="0"/>
            </a:xfrm>
            <a:prstGeom prst="line">
              <a:avLst/>
            </a:prstGeom>
            <a:ln w="48636" cap="rnd">
              <a:solidFill>
                <a:srgbClr val="176294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9" name="AutoShape 9"/>
            <p:cNvSpPr/>
            <p:nvPr/>
          </p:nvSpPr>
          <p:spPr>
            <a:xfrm>
              <a:off x="58364" y="2316500"/>
              <a:ext cx="7396511" cy="0"/>
            </a:xfrm>
            <a:prstGeom prst="line">
              <a:avLst/>
            </a:prstGeom>
            <a:ln w="48636" cap="rnd">
              <a:solidFill>
                <a:srgbClr val="176294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10" name="AutoShape 10"/>
            <p:cNvSpPr/>
            <p:nvPr/>
          </p:nvSpPr>
          <p:spPr>
            <a:xfrm rot="5400000">
              <a:off x="1283360" y="1418844"/>
              <a:ext cx="1866682" cy="0"/>
            </a:xfrm>
            <a:prstGeom prst="line">
              <a:avLst/>
            </a:prstGeom>
            <a:ln w="48636" cap="rnd">
              <a:solidFill>
                <a:srgbClr val="176294"/>
              </a:solidFill>
              <a:prstDash val="solid"/>
              <a:headEnd type="none" w="sm" len="sm"/>
              <a:tailEnd type="none" w="sm" len="sm"/>
            </a:ln>
          </p:spPr>
        </p:sp>
      </p:grpSp>
      <p:grpSp>
        <p:nvGrpSpPr>
          <p:cNvPr id="11" name="Group 11"/>
          <p:cNvGrpSpPr/>
          <p:nvPr/>
        </p:nvGrpSpPr>
        <p:grpSpPr>
          <a:xfrm>
            <a:off x="10965595" y="4870462"/>
            <a:ext cx="5591157" cy="1782377"/>
            <a:chOff x="0" y="0"/>
            <a:chExt cx="7454875" cy="2376503"/>
          </a:xfrm>
        </p:grpSpPr>
        <p:grpSp>
          <p:nvGrpSpPr>
            <p:cNvPr id="12" name="Group 12"/>
            <p:cNvGrpSpPr/>
            <p:nvPr/>
          </p:nvGrpSpPr>
          <p:grpSpPr>
            <a:xfrm>
              <a:off x="0" y="0"/>
              <a:ext cx="7454875" cy="601781"/>
              <a:chOff x="0" y="0"/>
              <a:chExt cx="16389181" cy="1322986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0" y="0"/>
                <a:ext cx="16389181" cy="1322986"/>
              </a:xfrm>
              <a:custGeom>
                <a:avLst/>
                <a:gdLst/>
                <a:ahLst/>
                <a:cxnLst/>
                <a:rect l="l" t="t" r="r" b="b"/>
                <a:pathLst>
                  <a:path w="16389181" h="1322986">
                    <a:moveTo>
                      <a:pt x="0" y="0"/>
                    </a:moveTo>
                    <a:lnTo>
                      <a:pt x="16389181" y="0"/>
                    </a:lnTo>
                    <a:lnTo>
                      <a:pt x="16389181" y="1322986"/>
                    </a:lnTo>
                    <a:lnTo>
                      <a:pt x="0" y="1322986"/>
                    </a:lnTo>
                    <a:close/>
                  </a:path>
                </a:pathLst>
              </a:custGeom>
              <a:solidFill>
                <a:srgbClr val="593AA5"/>
              </a:solidFill>
              <a:ln>
                <a:noFill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</p:spPr>
          </p:sp>
        </p:grpSp>
        <p:sp>
          <p:nvSpPr>
            <p:cNvPr id="14" name="AutoShape 14"/>
            <p:cNvSpPr/>
            <p:nvPr/>
          </p:nvSpPr>
          <p:spPr>
            <a:xfrm rot="5400000">
              <a:off x="-899295" y="1418844"/>
              <a:ext cx="1866682" cy="0"/>
            </a:xfrm>
            <a:prstGeom prst="line">
              <a:avLst/>
            </a:prstGeom>
            <a:ln w="48636" cap="rnd">
              <a:solidFill>
                <a:srgbClr val="593AA5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15" name="AutoShape 15"/>
            <p:cNvSpPr/>
            <p:nvPr/>
          </p:nvSpPr>
          <p:spPr>
            <a:xfrm>
              <a:off x="58364" y="2316500"/>
              <a:ext cx="7396511" cy="0"/>
            </a:xfrm>
            <a:prstGeom prst="line">
              <a:avLst/>
            </a:prstGeom>
            <a:ln w="48636" cap="rnd">
              <a:solidFill>
                <a:srgbClr val="593AA5"/>
              </a:solidFill>
              <a:prstDash val="solid"/>
              <a:headEnd type="none" w="sm" len="sm"/>
              <a:tailEnd type="none" w="sm" len="sm"/>
            </a:ln>
          </p:spPr>
        </p:sp>
      </p:grpSp>
      <p:grpSp>
        <p:nvGrpSpPr>
          <p:cNvPr id="16" name="Group 16"/>
          <p:cNvGrpSpPr/>
          <p:nvPr/>
        </p:nvGrpSpPr>
        <p:grpSpPr>
          <a:xfrm>
            <a:off x="10965595" y="7816360"/>
            <a:ext cx="5591157" cy="451336"/>
            <a:chOff x="0" y="0"/>
            <a:chExt cx="16389181" cy="1322986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16389181" cy="1322986"/>
            </a:xfrm>
            <a:custGeom>
              <a:avLst/>
              <a:gdLst/>
              <a:ahLst/>
              <a:cxnLst/>
              <a:rect l="l" t="t" r="r" b="b"/>
              <a:pathLst>
                <a:path w="16389181" h="1322986">
                  <a:moveTo>
                    <a:pt x="0" y="0"/>
                  </a:moveTo>
                  <a:lnTo>
                    <a:pt x="16389181" y="0"/>
                  </a:lnTo>
                  <a:lnTo>
                    <a:pt x="16389181" y="1322986"/>
                  </a:lnTo>
                  <a:lnTo>
                    <a:pt x="0" y="1322986"/>
                  </a:lnTo>
                  <a:close/>
                </a:path>
              </a:pathLst>
            </a:custGeom>
            <a:solidFill>
              <a:srgbClr val="0FB293"/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</p:spPr>
        </p:sp>
      </p:grpSp>
      <p:sp>
        <p:nvSpPr>
          <p:cNvPr id="18" name="AutoShape 18"/>
          <p:cNvSpPr/>
          <p:nvPr/>
        </p:nvSpPr>
        <p:spPr>
          <a:xfrm rot="5399999">
            <a:off x="10368398" y="8802408"/>
            <a:ext cx="1245465" cy="0"/>
          </a:xfrm>
          <a:prstGeom prst="line">
            <a:avLst/>
          </a:prstGeom>
          <a:ln w="38100" cap="rnd">
            <a:solidFill>
              <a:srgbClr val="0FB293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9" name="AutoShape 19"/>
          <p:cNvSpPr/>
          <p:nvPr/>
        </p:nvSpPr>
        <p:spPr>
          <a:xfrm>
            <a:off x="11009369" y="9407713"/>
            <a:ext cx="5547383" cy="0"/>
          </a:xfrm>
          <a:prstGeom prst="line">
            <a:avLst/>
          </a:prstGeom>
          <a:ln w="38100" cap="rnd">
            <a:solidFill>
              <a:srgbClr val="0FB293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20" name="AutoShape 20"/>
          <p:cNvSpPr/>
          <p:nvPr/>
        </p:nvSpPr>
        <p:spPr>
          <a:xfrm rot="-5262">
            <a:off x="2848601" y="2240132"/>
            <a:ext cx="8007534" cy="0"/>
          </a:xfrm>
          <a:prstGeom prst="line">
            <a:avLst/>
          </a:prstGeom>
          <a:ln w="47625" cap="rnd">
            <a:solidFill>
              <a:srgbClr val="176294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21" name="AutoShape 21"/>
          <p:cNvSpPr/>
          <p:nvPr/>
        </p:nvSpPr>
        <p:spPr>
          <a:xfrm rot="5441182">
            <a:off x="5909953" y="5430010"/>
            <a:ext cx="1480440" cy="0"/>
          </a:xfrm>
          <a:prstGeom prst="line">
            <a:avLst/>
          </a:prstGeom>
          <a:ln w="47625" cap="rnd">
            <a:solidFill>
              <a:srgbClr val="593AA5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22" name="AutoShape 22"/>
          <p:cNvSpPr/>
          <p:nvPr/>
        </p:nvSpPr>
        <p:spPr>
          <a:xfrm>
            <a:off x="6685394" y="5109853"/>
            <a:ext cx="4170772" cy="0"/>
          </a:xfrm>
          <a:prstGeom prst="line">
            <a:avLst/>
          </a:prstGeom>
          <a:ln w="47625" cap="rnd">
            <a:solidFill>
              <a:srgbClr val="593AA5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23" name="AutoShape 23"/>
          <p:cNvSpPr/>
          <p:nvPr/>
        </p:nvSpPr>
        <p:spPr>
          <a:xfrm rot="5358817">
            <a:off x="2885171" y="7938485"/>
            <a:ext cx="2571950" cy="0"/>
          </a:xfrm>
          <a:prstGeom prst="line">
            <a:avLst/>
          </a:prstGeom>
          <a:ln w="47625" cap="rnd">
            <a:solidFill>
              <a:srgbClr val="0FB293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24" name="AutoShape 24"/>
          <p:cNvSpPr/>
          <p:nvPr/>
        </p:nvSpPr>
        <p:spPr>
          <a:xfrm rot="-10759541" flipV="1">
            <a:off x="4132355" y="9109206"/>
            <a:ext cx="6723628" cy="64526"/>
          </a:xfrm>
          <a:prstGeom prst="line">
            <a:avLst/>
          </a:prstGeom>
          <a:ln w="47625" cap="rnd">
            <a:solidFill>
              <a:srgbClr val="0FB293"/>
            </a:solidFill>
            <a:prstDash val="solid"/>
            <a:headEnd type="oval" w="lg" len="lg"/>
            <a:tailEnd type="oval" w="lg" len="lg"/>
          </a:ln>
        </p:spPr>
      </p:sp>
      <p:pic>
        <p:nvPicPr>
          <p:cNvPr id="25" name="Picture 2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763046" y="184328"/>
            <a:ext cx="2144842" cy="1135873"/>
          </a:xfrm>
          <a:prstGeom prst="rect">
            <a:avLst/>
          </a:prstGeom>
        </p:spPr>
      </p:pic>
      <p:grpSp>
        <p:nvGrpSpPr>
          <p:cNvPr id="26" name="Group 26"/>
          <p:cNvGrpSpPr>
            <a:grpSpLocks noChangeAspect="1"/>
          </p:cNvGrpSpPr>
          <p:nvPr/>
        </p:nvGrpSpPr>
        <p:grpSpPr>
          <a:xfrm>
            <a:off x="16324163" y="8972141"/>
            <a:ext cx="3927674" cy="3927674"/>
            <a:chOff x="0" y="0"/>
            <a:chExt cx="6355080" cy="6355080"/>
          </a:xfrm>
        </p:grpSpPr>
        <p:sp>
          <p:nvSpPr>
            <p:cNvPr id="27" name="Freeform 27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28" name="Group 28"/>
          <p:cNvGrpSpPr/>
          <p:nvPr/>
        </p:nvGrpSpPr>
        <p:grpSpPr>
          <a:xfrm>
            <a:off x="352051" y="-160774"/>
            <a:ext cx="504017" cy="557766"/>
            <a:chOff x="0" y="0"/>
            <a:chExt cx="672023" cy="743688"/>
          </a:xfrm>
        </p:grpSpPr>
        <p:grpSp>
          <p:nvGrpSpPr>
            <p:cNvPr id="29" name="Group 29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30" name="Freeform 30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31" name="Group 31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32" name="Freeform 32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33" name="Group 33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34" name="Freeform 34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35" name="Group 35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36" name="Freeform 36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37" name="Group 37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38" name="Freeform 38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39" name="Group 39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40" name="Freeform 40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41" name="Group 41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42" name="Freeform 42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43" name="Group 43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44" name="Freeform 44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45" name="Group 45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46" name="Freeform 46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grpSp>
        <p:nvGrpSpPr>
          <p:cNvPr id="47" name="Group 47"/>
          <p:cNvGrpSpPr/>
          <p:nvPr/>
        </p:nvGrpSpPr>
        <p:grpSpPr>
          <a:xfrm>
            <a:off x="2420259" y="1820031"/>
            <a:ext cx="1004860" cy="1004860"/>
            <a:chOff x="0" y="0"/>
            <a:chExt cx="6350000" cy="6350000"/>
          </a:xfrm>
        </p:grpSpPr>
        <p:sp>
          <p:nvSpPr>
            <p:cNvPr id="48" name="Freeform 48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176294"/>
            </a:solidFill>
          </p:spPr>
        </p:sp>
      </p:grpSp>
      <p:grpSp>
        <p:nvGrpSpPr>
          <p:cNvPr id="49" name="Group 49"/>
          <p:cNvGrpSpPr/>
          <p:nvPr/>
        </p:nvGrpSpPr>
        <p:grpSpPr>
          <a:xfrm>
            <a:off x="6226639" y="4515041"/>
            <a:ext cx="881034" cy="881034"/>
            <a:chOff x="0" y="0"/>
            <a:chExt cx="6350000" cy="6350000"/>
          </a:xfrm>
        </p:grpSpPr>
        <p:sp>
          <p:nvSpPr>
            <p:cNvPr id="50" name="Freeform 50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593AA5"/>
            </a:solidFill>
          </p:spPr>
        </p:sp>
      </p:grpSp>
      <p:grpSp>
        <p:nvGrpSpPr>
          <p:cNvPr id="51" name="Group 51"/>
          <p:cNvGrpSpPr/>
          <p:nvPr/>
        </p:nvGrpSpPr>
        <p:grpSpPr>
          <a:xfrm>
            <a:off x="3730628" y="8732867"/>
            <a:ext cx="1122821" cy="1085122"/>
            <a:chOff x="0" y="0"/>
            <a:chExt cx="6350000" cy="6350000"/>
          </a:xfrm>
        </p:grpSpPr>
        <p:sp>
          <p:nvSpPr>
            <p:cNvPr id="52" name="Freeform 52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0FB293"/>
            </a:solidFill>
          </p:spPr>
        </p:sp>
      </p:grpSp>
      <p:pic>
        <p:nvPicPr>
          <p:cNvPr id="53" name="Picture 5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 rot="300143">
            <a:off x="4611663" y="5386829"/>
            <a:ext cx="3033324" cy="2176628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54" name="Picture 54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2105427" y="6763925"/>
            <a:ext cx="4468855" cy="148217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55" name="Picture 5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558105" y="5562831"/>
            <a:ext cx="2849891" cy="2196492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56" name="AutoShape 56"/>
          <p:cNvSpPr/>
          <p:nvPr/>
        </p:nvSpPr>
        <p:spPr>
          <a:xfrm rot="5400000">
            <a:off x="15838508" y="3056797"/>
            <a:ext cx="1400011" cy="0"/>
          </a:xfrm>
          <a:prstGeom prst="line">
            <a:avLst/>
          </a:prstGeom>
          <a:ln w="38100" cap="rnd">
            <a:solidFill>
              <a:srgbClr val="176294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57" name="AutoShape 57"/>
          <p:cNvSpPr/>
          <p:nvPr/>
        </p:nvSpPr>
        <p:spPr>
          <a:xfrm rot="5400000" flipV="1">
            <a:off x="15843586" y="5929518"/>
            <a:ext cx="1389855" cy="1"/>
          </a:xfrm>
          <a:prstGeom prst="line">
            <a:avLst/>
          </a:prstGeom>
          <a:ln w="38100" cap="rnd">
            <a:solidFill>
              <a:srgbClr val="593AA5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58" name="AutoShape 58"/>
          <p:cNvSpPr/>
          <p:nvPr/>
        </p:nvSpPr>
        <p:spPr>
          <a:xfrm rot="5399999">
            <a:off x="15920987" y="8789375"/>
            <a:ext cx="1235053" cy="0"/>
          </a:xfrm>
          <a:prstGeom prst="line">
            <a:avLst/>
          </a:prstGeom>
          <a:ln w="38100" cap="rnd">
            <a:solidFill>
              <a:srgbClr val="0FB293"/>
            </a:solidFill>
            <a:prstDash val="solid"/>
            <a:headEnd type="none" w="sm" len="sm"/>
            <a:tailEnd type="none" w="sm" len="sm"/>
          </a:ln>
        </p:spPr>
      </p:sp>
      <p:grpSp>
        <p:nvGrpSpPr>
          <p:cNvPr id="59" name="Group 59"/>
          <p:cNvGrpSpPr/>
          <p:nvPr/>
        </p:nvGrpSpPr>
        <p:grpSpPr>
          <a:xfrm>
            <a:off x="11285932" y="5491019"/>
            <a:ext cx="4269970" cy="451660"/>
            <a:chOff x="0" y="0"/>
            <a:chExt cx="2463403" cy="260569"/>
          </a:xfrm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</p:grpSpPr>
        <p:sp>
          <p:nvSpPr>
            <p:cNvPr id="60" name="Freeform 60"/>
            <p:cNvSpPr/>
            <p:nvPr/>
          </p:nvSpPr>
          <p:spPr>
            <a:xfrm>
              <a:off x="0" y="0"/>
              <a:ext cx="2463403" cy="260569"/>
            </a:xfrm>
            <a:custGeom>
              <a:avLst/>
              <a:gdLst/>
              <a:ahLst/>
              <a:cxnLst/>
              <a:rect l="l" t="t" r="r" b="b"/>
              <a:pathLst>
                <a:path w="2463403" h="260569">
                  <a:moveTo>
                    <a:pt x="0" y="0"/>
                  </a:moveTo>
                  <a:lnTo>
                    <a:pt x="2463403" y="0"/>
                  </a:lnTo>
                  <a:lnTo>
                    <a:pt x="2463403" y="260569"/>
                  </a:lnTo>
                  <a:lnTo>
                    <a:pt x="0" y="260569"/>
                  </a:lnTo>
                  <a:close/>
                </a:path>
              </a:pathLst>
            </a:custGeom>
            <a:solidFill>
              <a:srgbClr val="593AA5"/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p3d prstMaterial="matte">
              <a:bevelT w="127000" h="63500"/>
            </a:sp3d>
          </p:spPr>
        </p:sp>
      </p:grpSp>
      <p:grpSp>
        <p:nvGrpSpPr>
          <p:cNvPr id="61" name="Group 61"/>
          <p:cNvGrpSpPr/>
          <p:nvPr/>
        </p:nvGrpSpPr>
        <p:grpSpPr>
          <a:xfrm>
            <a:off x="11285932" y="6058130"/>
            <a:ext cx="4900908" cy="451660"/>
            <a:chOff x="0" y="0"/>
            <a:chExt cx="2827400" cy="260569"/>
          </a:xfrm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</p:grpSpPr>
        <p:sp>
          <p:nvSpPr>
            <p:cNvPr id="62" name="Freeform 62"/>
            <p:cNvSpPr/>
            <p:nvPr/>
          </p:nvSpPr>
          <p:spPr>
            <a:xfrm>
              <a:off x="0" y="0"/>
              <a:ext cx="2827400" cy="260569"/>
            </a:xfrm>
            <a:custGeom>
              <a:avLst/>
              <a:gdLst/>
              <a:ahLst/>
              <a:cxnLst/>
              <a:rect l="l" t="t" r="r" b="b"/>
              <a:pathLst>
                <a:path w="2827400" h="260569">
                  <a:moveTo>
                    <a:pt x="0" y="0"/>
                  </a:moveTo>
                  <a:lnTo>
                    <a:pt x="2827400" y="0"/>
                  </a:lnTo>
                  <a:lnTo>
                    <a:pt x="2827400" y="260569"/>
                  </a:lnTo>
                  <a:lnTo>
                    <a:pt x="0" y="260569"/>
                  </a:lnTo>
                  <a:close/>
                </a:path>
              </a:pathLst>
            </a:custGeom>
            <a:solidFill>
              <a:srgbClr val="593AA5"/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p3d prstMaterial="matte">
              <a:bevelT w="127000" h="63500"/>
            </a:sp3d>
          </p:spPr>
        </p:sp>
      </p:grpSp>
      <p:sp>
        <p:nvSpPr>
          <p:cNvPr id="63" name="TextBox 63"/>
          <p:cNvSpPr txBox="1"/>
          <p:nvPr/>
        </p:nvSpPr>
        <p:spPr>
          <a:xfrm>
            <a:off x="5942806" y="51434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64" name="TextBox 64"/>
          <p:cNvSpPr txBox="1"/>
          <p:nvPr/>
        </p:nvSpPr>
        <p:spPr>
          <a:xfrm>
            <a:off x="4853450" y="604043"/>
            <a:ext cx="8581099" cy="110591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</a:pPr>
            <a:r>
              <a:rPr lang="en-US" sz="3147" dirty="0">
                <a:solidFill>
                  <a:srgbClr val="2C92D5"/>
                </a:solidFill>
                <a:latin typeface="Montserrat Extra-Bold"/>
              </a:rPr>
              <a:t>Повышение оплаты труда работников</a:t>
            </a:r>
          </a:p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2C92D5"/>
                </a:solidFill>
                <a:latin typeface="Montserrat Extra-Bold"/>
              </a:rPr>
              <a:t>бюджетной сферы</a:t>
            </a:r>
          </a:p>
        </p:txBody>
      </p:sp>
      <p:sp>
        <p:nvSpPr>
          <p:cNvPr id="65" name="TextBox 65"/>
          <p:cNvSpPr txBox="1"/>
          <p:nvPr/>
        </p:nvSpPr>
        <p:spPr>
          <a:xfrm>
            <a:off x="11295848" y="1983768"/>
            <a:ext cx="4890993" cy="4299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512"/>
              </a:lnSpc>
              <a:spcBef>
                <a:spcPct val="0"/>
              </a:spcBef>
            </a:pPr>
            <a:r>
              <a:rPr lang="en-US" sz="2509" dirty="0">
                <a:solidFill>
                  <a:srgbClr val="FFFFFF"/>
                </a:solidFill>
                <a:latin typeface="Montserrat Extra-Bold"/>
              </a:rPr>
              <a:t>ЦЕЛЕВЫЕ КАТЕГОРИИ, руб.</a:t>
            </a:r>
          </a:p>
        </p:txBody>
      </p:sp>
      <p:sp>
        <p:nvSpPr>
          <p:cNvPr id="66" name="TextBox 66"/>
          <p:cNvSpPr txBox="1"/>
          <p:nvPr/>
        </p:nvSpPr>
        <p:spPr>
          <a:xfrm>
            <a:off x="12775722" y="4851412"/>
            <a:ext cx="1931245" cy="4299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512"/>
              </a:lnSpc>
              <a:spcBef>
                <a:spcPct val="0"/>
              </a:spcBef>
            </a:pPr>
            <a:r>
              <a:rPr lang="en-US" sz="2509" dirty="0">
                <a:solidFill>
                  <a:srgbClr val="FFFFFF"/>
                </a:solidFill>
                <a:latin typeface="Montserrat Extra-Bold"/>
              </a:rPr>
              <a:t>МРОТ, руб.</a:t>
            </a:r>
          </a:p>
        </p:txBody>
      </p:sp>
      <p:sp>
        <p:nvSpPr>
          <p:cNvPr id="67" name="TextBox 67"/>
          <p:cNvSpPr txBox="1"/>
          <p:nvPr/>
        </p:nvSpPr>
        <p:spPr>
          <a:xfrm>
            <a:off x="12982388" y="5478041"/>
            <a:ext cx="904324" cy="4299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512"/>
              </a:lnSpc>
              <a:spcBef>
                <a:spcPct val="0"/>
              </a:spcBef>
            </a:pPr>
            <a:r>
              <a:rPr lang="en-US" sz="2509">
                <a:solidFill>
                  <a:srgbClr val="FFFFFF"/>
                </a:solidFill>
                <a:latin typeface="Montserrat Extra-Bold"/>
              </a:rPr>
              <a:t>12732</a:t>
            </a:r>
          </a:p>
        </p:txBody>
      </p:sp>
      <p:sp>
        <p:nvSpPr>
          <p:cNvPr id="68" name="TextBox 68"/>
          <p:cNvSpPr txBox="1"/>
          <p:nvPr/>
        </p:nvSpPr>
        <p:spPr>
          <a:xfrm>
            <a:off x="13005326" y="6045152"/>
            <a:ext cx="858448" cy="42999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512"/>
              </a:lnSpc>
              <a:spcBef>
                <a:spcPct val="0"/>
              </a:spcBef>
            </a:pPr>
            <a:r>
              <a:rPr lang="en-US" sz="2509">
                <a:solidFill>
                  <a:srgbClr val="FFFFFF"/>
                </a:solidFill>
                <a:latin typeface="Montserrat Extra-Bold"/>
              </a:rPr>
              <a:t>13617</a:t>
            </a:r>
          </a:p>
        </p:txBody>
      </p:sp>
      <p:sp>
        <p:nvSpPr>
          <p:cNvPr id="69" name="TextBox 69"/>
          <p:cNvSpPr txBox="1"/>
          <p:nvPr/>
        </p:nvSpPr>
        <p:spPr>
          <a:xfrm>
            <a:off x="11582400" y="7837704"/>
            <a:ext cx="4507502" cy="4161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512"/>
              </a:lnSpc>
              <a:spcBef>
                <a:spcPct val="0"/>
              </a:spcBef>
            </a:pPr>
            <a:r>
              <a:rPr lang="en-US" sz="2509" dirty="0" smtClean="0">
                <a:solidFill>
                  <a:srgbClr val="FFFFFF"/>
                </a:solidFill>
                <a:latin typeface="Montserrat Extra-Bold"/>
              </a:rPr>
              <a:t>ПРОЧИЙ</a:t>
            </a:r>
            <a:r>
              <a:rPr lang="ru-RU" sz="2509" dirty="0" smtClean="0">
                <a:solidFill>
                  <a:srgbClr val="FFFFFF"/>
                </a:solidFill>
                <a:latin typeface="Montserrat Extra-Bold"/>
              </a:rPr>
              <a:t> ПЕРСОНАЛ</a:t>
            </a:r>
            <a:endParaRPr lang="en-US" sz="2509" dirty="0">
              <a:solidFill>
                <a:srgbClr val="FFFFFF"/>
              </a:solidFill>
              <a:latin typeface="Montserrat Extra-Bold"/>
            </a:endParaRPr>
          </a:p>
        </p:txBody>
      </p:sp>
      <p:sp>
        <p:nvSpPr>
          <p:cNvPr id="70" name="TextBox 70"/>
          <p:cNvSpPr txBox="1"/>
          <p:nvPr/>
        </p:nvSpPr>
        <p:spPr>
          <a:xfrm>
            <a:off x="12944664" y="2385184"/>
            <a:ext cx="694019" cy="4116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343"/>
              </a:lnSpc>
              <a:spcBef>
                <a:spcPct val="0"/>
              </a:spcBef>
            </a:pPr>
            <a:r>
              <a:rPr lang="en-US" sz="2388">
                <a:solidFill>
                  <a:srgbClr val="13538A"/>
                </a:solidFill>
                <a:latin typeface="Montserrat Extra-Bold"/>
              </a:rPr>
              <a:t>2021</a:t>
            </a:r>
          </a:p>
        </p:txBody>
      </p:sp>
      <p:sp>
        <p:nvSpPr>
          <p:cNvPr id="71" name="TextBox 71"/>
          <p:cNvSpPr txBox="1"/>
          <p:nvPr/>
        </p:nvSpPr>
        <p:spPr>
          <a:xfrm>
            <a:off x="12720578" y="3070991"/>
            <a:ext cx="1097485" cy="346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832"/>
              </a:lnSpc>
              <a:spcBef>
                <a:spcPct val="0"/>
              </a:spcBef>
            </a:pPr>
            <a:r>
              <a:rPr lang="en-US" sz="2023" dirty="0">
                <a:solidFill>
                  <a:srgbClr val="13538A"/>
                </a:solidFill>
                <a:latin typeface="Montserrat Extra-Bold"/>
              </a:rPr>
              <a:t>26250,6</a:t>
            </a:r>
          </a:p>
        </p:txBody>
      </p:sp>
      <p:sp>
        <p:nvSpPr>
          <p:cNvPr id="72" name="TextBox 72"/>
          <p:cNvSpPr txBox="1"/>
          <p:nvPr/>
        </p:nvSpPr>
        <p:spPr>
          <a:xfrm>
            <a:off x="14831997" y="3070991"/>
            <a:ext cx="816063" cy="3464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32"/>
              </a:lnSpc>
              <a:spcBef>
                <a:spcPct val="0"/>
              </a:spcBef>
            </a:pPr>
            <a:r>
              <a:rPr lang="en-US" sz="2023">
                <a:solidFill>
                  <a:srgbClr val="13538A"/>
                </a:solidFill>
                <a:latin typeface="Montserrat Extra-Bold"/>
              </a:rPr>
              <a:t>28758</a:t>
            </a:r>
          </a:p>
        </p:txBody>
      </p:sp>
      <p:sp>
        <p:nvSpPr>
          <p:cNvPr id="73" name="TextBox 73"/>
          <p:cNvSpPr txBox="1"/>
          <p:nvPr/>
        </p:nvSpPr>
        <p:spPr>
          <a:xfrm>
            <a:off x="14435918" y="2404234"/>
            <a:ext cx="1653984" cy="4116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343"/>
              </a:lnSpc>
              <a:spcBef>
                <a:spcPct val="0"/>
              </a:spcBef>
            </a:pPr>
            <a:r>
              <a:rPr lang="en-US" sz="2388">
                <a:solidFill>
                  <a:srgbClr val="13538A"/>
                </a:solidFill>
                <a:latin typeface="Montserrat Extra-Bold"/>
              </a:rPr>
              <a:t>2022-2024</a:t>
            </a:r>
          </a:p>
        </p:txBody>
      </p:sp>
      <p:sp>
        <p:nvSpPr>
          <p:cNvPr id="74" name="TextBox 74"/>
          <p:cNvSpPr txBox="1"/>
          <p:nvPr/>
        </p:nvSpPr>
        <p:spPr>
          <a:xfrm>
            <a:off x="11414276" y="8460035"/>
            <a:ext cx="4865247" cy="45724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63"/>
              </a:lnSpc>
              <a:spcBef>
                <a:spcPct val="0"/>
              </a:spcBef>
            </a:pPr>
            <a:r>
              <a:rPr lang="en-US" sz="2688" dirty="0">
                <a:solidFill>
                  <a:srgbClr val="13538A"/>
                </a:solidFill>
                <a:latin typeface="Montserrat Extra-Bold"/>
              </a:rPr>
              <a:t>с 1 октября 2021 года </a:t>
            </a:r>
            <a:r>
              <a:rPr lang="en-US" sz="2688" dirty="0">
                <a:solidFill>
                  <a:srgbClr val="03989E"/>
                </a:solidFill>
                <a:latin typeface="Montserrat Extra-Bold"/>
              </a:rPr>
              <a:t>3,6%</a:t>
            </a:r>
          </a:p>
        </p:txBody>
      </p:sp>
      <p:sp>
        <p:nvSpPr>
          <p:cNvPr id="75" name="TextBox 75"/>
          <p:cNvSpPr txBox="1"/>
          <p:nvPr/>
        </p:nvSpPr>
        <p:spPr>
          <a:xfrm>
            <a:off x="11041192" y="2826547"/>
            <a:ext cx="1614373" cy="85099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698"/>
              </a:lnSpc>
            </a:pPr>
            <a:r>
              <a:rPr lang="en-US" sz="1213" dirty="0">
                <a:solidFill>
                  <a:srgbClr val="13538A"/>
                </a:solidFill>
                <a:latin typeface="Montserrat Extra-Bold"/>
              </a:rPr>
              <a:t>Среднемесячный</a:t>
            </a:r>
          </a:p>
          <a:p>
            <a:pPr>
              <a:lnSpc>
                <a:spcPts val="1698"/>
              </a:lnSpc>
            </a:pPr>
            <a:r>
              <a:rPr lang="en-US" sz="1213" dirty="0">
                <a:solidFill>
                  <a:srgbClr val="13538A"/>
                </a:solidFill>
                <a:latin typeface="Montserrat Extra-Bold"/>
              </a:rPr>
              <a:t>доход</a:t>
            </a:r>
          </a:p>
          <a:p>
            <a:pPr>
              <a:lnSpc>
                <a:spcPts val="1698"/>
              </a:lnSpc>
            </a:pPr>
            <a:r>
              <a:rPr lang="en-US" sz="1213" dirty="0">
                <a:solidFill>
                  <a:srgbClr val="13538A"/>
                </a:solidFill>
                <a:latin typeface="Montserrat Extra-Bold"/>
              </a:rPr>
              <a:t>от трудовой</a:t>
            </a:r>
          </a:p>
          <a:p>
            <a:pPr>
              <a:lnSpc>
                <a:spcPts val="1698"/>
              </a:lnSpc>
              <a:spcBef>
                <a:spcPct val="0"/>
              </a:spcBef>
            </a:pPr>
            <a:r>
              <a:rPr lang="en-US" sz="1213" dirty="0">
                <a:solidFill>
                  <a:srgbClr val="13538A"/>
                </a:solidFill>
                <a:latin typeface="Montserrat Extra-Bold"/>
              </a:rPr>
              <a:t>деятельности</a:t>
            </a:r>
          </a:p>
        </p:txBody>
      </p:sp>
      <p:sp>
        <p:nvSpPr>
          <p:cNvPr id="76" name="TextBox 76"/>
          <p:cNvSpPr txBox="1"/>
          <p:nvPr/>
        </p:nvSpPr>
        <p:spPr>
          <a:xfrm>
            <a:off x="5190327" y="1907286"/>
            <a:ext cx="1305798" cy="31529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46"/>
              </a:lnSpc>
              <a:spcBef>
                <a:spcPct val="0"/>
              </a:spcBef>
            </a:pPr>
            <a:r>
              <a:rPr lang="en-US" sz="1818" dirty="0">
                <a:solidFill>
                  <a:srgbClr val="13538A"/>
                </a:solidFill>
                <a:latin typeface="Montserrat Extra-Bold"/>
              </a:rPr>
              <a:t>МЛН. РУБ.</a:t>
            </a:r>
          </a:p>
        </p:txBody>
      </p:sp>
      <p:sp>
        <p:nvSpPr>
          <p:cNvPr id="77" name="TextBox 77"/>
          <p:cNvSpPr txBox="1"/>
          <p:nvPr/>
        </p:nvSpPr>
        <p:spPr>
          <a:xfrm>
            <a:off x="2615014" y="2015094"/>
            <a:ext cx="598763" cy="51108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170"/>
              </a:lnSpc>
              <a:spcBef>
                <a:spcPct val="0"/>
              </a:spcBef>
            </a:pPr>
            <a:r>
              <a:rPr lang="en-US" sz="2978" dirty="0">
                <a:solidFill>
                  <a:srgbClr val="FFFFFF"/>
                </a:solidFill>
                <a:latin typeface="Montserrat Extra-Bold"/>
              </a:rPr>
              <a:t>9,5</a:t>
            </a:r>
          </a:p>
        </p:txBody>
      </p:sp>
      <p:sp>
        <p:nvSpPr>
          <p:cNvPr id="78" name="TextBox 78"/>
          <p:cNvSpPr txBox="1"/>
          <p:nvPr/>
        </p:nvSpPr>
        <p:spPr>
          <a:xfrm>
            <a:off x="6344359" y="4715132"/>
            <a:ext cx="655717" cy="4456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656"/>
              </a:lnSpc>
              <a:spcBef>
                <a:spcPct val="0"/>
              </a:spcBef>
            </a:pPr>
            <a:r>
              <a:rPr lang="en-US" sz="2611" dirty="0">
                <a:solidFill>
                  <a:srgbClr val="FFFFFF"/>
                </a:solidFill>
                <a:latin typeface="Montserrat Extra-Bold"/>
              </a:rPr>
              <a:t>21,5</a:t>
            </a:r>
          </a:p>
        </p:txBody>
      </p:sp>
      <p:sp>
        <p:nvSpPr>
          <p:cNvPr id="79" name="TextBox 79"/>
          <p:cNvSpPr txBox="1"/>
          <p:nvPr/>
        </p:nvSpPr>
        <p:spPr>
          <a:xfrm>
            <a:off x="3852402" y="9051315"/>
            <a:ext cx="879271" cy="4744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656"/>
              </a:lnSpc>
              <a:spcBef>
                <a:spcPct val="0"/>
              </a:spcBef>
            </a:pPr>
            <a:r>
              <a:rPr lang="en-US" sz="2800" dirty="0">
                <a:solidFill>
                  <a:srgbClr val="FFFFFF"/>
                </a:solidFill>
                <a:latin typeface="Montserrat Extra-Bold"/>
              </a:rPr>
              <a:t>9,7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"/>
          <p:cNvSpPr txBox="1"/>
          <p:nvPr/>
        </p:nvSpPr>
        <p:spPr>
          <a:xfrm>
            <a:off x="5942806" y="61269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4" name="TextBox 4"/>
          <p:cNvSpPr txBox="1"/>
          <p:nvPr/>
        </p:nvSpPr>
        <p:spPr>
          <a:xfrm>
            <a:off x="4926376" y="613877"/>
            <a:ext cx="843524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2C92D5"/>
                </a:solidFill>
                <a:latin typeface="Montserrat Extra-Bold"/>
              </a:rPr>
              <a:t>Функциональная структура расходов</a:t>
            </a:r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>
          <a:xfrm>
            <a:off x="15782096" y="194163"/>
            <a:ext cx="2144842" cy="1135873"/>
          </a:xfrm>
          <a:prstGeom prst="rect">
            <a:avLst/>
          </a:prstGeom>
        </p:spPr>
      </p:pic>
      <p:grpSp>
        <p:nvGrpSpPr>
          <p:cNvPr id="6" name="Group 6"/>
          <p:cNvGrpSpPr>
            <a:grpSpLocks noChangeAspect="1"/>
          </p:cNvGrpSpPr>
          <p:nvPr/>
        </p:nvGrpSpPr>
        <p:grpSpPr>
          <a:xfrm>
            <a:off x="16343213" y="8981975"/>
            <a:ext cx="3927674" cy="3927674"/>
            <a:chOff x="0" y="0"/>
            <a:chExt cx="6355080" cy="6355080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8" name="Group 8"/>
          <p:cNvGrpSpPr/>
          <p:nvPr/>
        </p:nvGrpSpPr>
        <p:grpSpPr>
          <a:xfrm>
            <a:off x="371101" y="-150939"/>
            <a:ext cx="504017" cy="557766"/>
            <a:chOff x="0" y="0"/>
            <a:chExt cx="672023" cy="743688"/>
          </a:xfrm>
        </p:grpSpPr>
        <p:grpSp>
          <p:nvGrpSpPr>
            <p:cNvPr id="9" name="Group 9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10" name="Freeform 10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1" name="Group 11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12" name="Freeform 12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3" name="Group 13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4" name="Freeform 14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5" name="Group 15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6" name="Freeform 16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7" name="Group 17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8" name="Freeform 18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9" name="Group 19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20" name="Freeform 20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1" name="Group 21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22" name="Freeform 22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3" name="Group 23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4" name="Freeform 24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5" name="Group 25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6" name="Freeform 26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sp>
        <p:nvSpPr>
          <p:cNvPr id="27" name="Овал 26"/>
          <p:cNvSpPr/>
          <p:nvPr/>
        </p:nvSpPr>
        <p:spPr>
          <a:xfrm>
            <a:off x="2708421" y="4942665"/>
            <a:ext cx="1809513" cy="1739826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sp>
        <p:nvSpPr>
          <p:cNvPr id="2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01F4732-32EE-4C7F-AC1F-76C1CDFF52B7}" type="slidenum">
              <a:rPr lang="ru-RU">
                <a:ln>
                  <a:solidFill>
                    <a:schemeClr val="accent6">
                      <a:lumMod val="75000"/>
                    </a:schemeClr>
                  </a:solidFill>
                </a:ln>
                <a:latin typeface="+mn-lt"/>
              </a:rPr>
              <a:pPr>
                <a:defRPr/>
              </a:pPr>
              <a:t>7</a:t>
            </a:fld>
            <a:endParaRPr lang="ru-RU" dirty="0">
              <a:ln>
                <a:solidFill>
                  <a:schemeClr val="accent6">
                    <a:lumMod val="75000"/>
                  </a:schemeClr>
                </a:solidFill>
              </a:ln>
              <a:latin typeface="+mn-lt"/>
            </a:endParaRPr>
          </a:p>
        </p:txBody>
      </p:sp>
      <p:sp>
        <p:nvSpPr>
          <p:cNvPr id="29" name="object 123"/>
          <p:cNvSpPr/>
          <p:nvPr/>
        </p:nvSpPr>
        <p:spPr>
          <a:xfrm>
            <a:off x="2517992" y="2614320"/>
            <a:ext cx="3980144" cy="2029365"/>
          </a:xfrm>
          <a:custGeom>
            <a:avLst/>
            <a:gdLst/>
            <a:ahLst/>
            <a:cxnLst/>
            <a:rect l="l" t="t" r="r" b="b"/>
            <a:pathLst>
              <a:path w="2618104" h="1254760">
                <a:moveTo>
                  <a:pt x="1517878" y="0"/>
                </a:moveTo>
                <a:lnTo>
                  <a:pt x="1517878" y="495"/>
                </a:lnTo>
                <a:lnTo>
                  <a:pt x="1481781" y="4047"/>
                </a:lnTo>
                <a:lnTo>
                  <a:pt x="1446841" y="14673"/>
                </a:lnTo>
                <a:lnTo>
                  <a:pt x="1414187" y="32354"/>
                </a:lnTo>
                <a:lnTo>
                  <a:pt x="1384947" y="57073"/>
                </a:lnTo>
                <a:lnTo>
                  <a:pt x="603224" y="884516"/>
                </a:lnTo>
                <a:lnTo>
                  <a:pt x="0" y="884516"/>
                </a:lnTo>
                <a:lnTo>
                  <a:pt x="0" y="1254429"/>
                </a:lnTo>
                <a:lnTo>
                  <a:pt x="681520" y="1254442"/>
                </a:lnTo>
                <a:lnTo>
                  <a:pt x="723253" y="1249713"/>
                </a:lnTo>
                <a:lnTo>
                  <a:pt x="761642" y="1236230"/>
                </a:lnTo>
                <a:lnTo>
                  <a:pt x="795629" y="1215051"/>
                </a:lnTo>
                <a:lnTo>
                  <a:pt x="824153" y="1187234"/>
                </a:lnTo>
                <a:lnTo>
                  <a:pt x="1596174" y="369912"/>
                </a:lnTo>
                <a:lnTo>
                  <a:pt x="2618041" y="369912"/>
                </a:lnTo>
                <a:lnTo>
                  <a:pt x="2618041" y="12"/>
                </a:lnTo>
                <a:lnTo>
                  <a:pt x="1517878" y="0"/>
                </a:lnTo>
                <a:close/>
              </a:path>
              <a:path w="2618104" h="1254760">
                <a:moveTo>
                  <a:pt x="2618041" y="369912"/>
                </a:moveTo>
                <a:lnTo>
                  <a:pt x="1596174" y="369912"/>
                </a:lnTo>
                <a:lnTo>
                  <a:pt x="2618041" y="369925"/>
                </a:lnTo>
                <a:close/>
              </a:path>
            </a:pathLst>
          </a:custGeom>
          <a:solidFill>
            <a:srgbClr val="00AEEF"/>
          </a:solidFill>
        </p:spPr>
        <p:txBody>
          <a:bodyPr wrap="square" lIns="0" tIns="0" rIns="0" bIns="0" rtlCol="0"/>
          <a:lstStyle/>
          <a:p>
            <a:endParaRPr sz="2700"/>
          </a:p>
        </p:txBody>
      </p:sp>
      <p:sp>
        <p:nvSpPr>
          <p:cNvPr id="30" name="object 122"/>
          <p:cNvSpPr/>
          <p:nvPr/>
        </p:nvSpPr>
        <p:spPr>
          <a:xfrm>
            <a:off x="2887685" y="3109322"/>
            <a:ext cx="3610452" cy="1734529"/>
          </a:xfrm>
          <a:custGeom>
            <a:avLst/>
            <a:gdLst/>
            <a:ahLst/>
            <a:cxnLst/>
            <a:rect l="l" t="t" r="r" b="b"/>
            <a:pathLst>
              <a:path w="2147570" h="844550">
                <a:moveTo>
                  <a:pt x="0" y="474433"/>
                </a:moveTo>
                <a:lnTo>
                  <a:pt x="0" y="844346"/>
                </a:lnTo>
                <a:lnTo>
                  <a:pt x="791832" y="844359"/>
                </a:lnTo>
                <a:lnTo>
                  <a:pt x="833565" y="839630"/>
                </a:lnTo>
                <a:lnTo>
                  <a:pt x="871955" y="826147"/>
                </a:lnTo>
                <a:lnTo>
                  <a:pt x="905941" y="804968"/>
                </a:lnTo>
                <a:lnTo>
                  <a:pt x="934466" y="777151"/>
                </a:lnTo>
                <a:lnTo>
                  <a:pt x="1216751" y="474446"/>
                </a:lnTo>
                <a:lnTo>
                  <a:pt x="0" y="474433"/>
                </a:lnTo>
                <a:close/>
              </a:path>
              <a:path w="2147570" h="844550">
                <a:moveTo>
                  <a:pt x="1235951" y="0"/>
                </a:moveTo>
                <a:lnTo>
                  <a:pt x="1235951" y="507"/>
                </a:lnTo>
                <a:lnTo>
                  <a:pt x="1199851" y="4052"/>
                </a:lnTo>
                <a:lnTo>
                  <a:pt x="1164907" y="14674"/>
                </a:lnTo>
                <a:lnTo>
                  <a:pt x="1132249" y="32354"/>
                </a:lnTo>
                <a:lnTo>
                  <a:pt x="1103007" y="57073"/>
                </a:lnTo>
                <a:lnTo>
                  <a:pt x="713536" y="474446"/>
                </a:lnTo>
                <a:lnTo>
                  <a:pt x="1216763" y="474433"/>
                </a:lnTo>
                <a:lnTo>
                  <a:pt x="1314234" y="369912"/>
                </a:lnTo>
                <a:lnTo>
                  <a:pt x="2147112" y="369912"/>
                </a:lnTo>
                <a:lnTo>
                  <a:pt x="2147112" y="12"/>
                </a:lnTo>
                <a:lnTo>
                  <a:pt x="1235951" y="0"/>
                </a:lnTo>
                <a:close/>
              </a:path>
              <a:path w="2147570" h="844550">
                <a:moveTo>
                  <a:pt x="2147112" y="369912"/>
                </a:moveTo>
                <a:lnTo>
                  <a:pt x="1314234" y="369912"/>
                </a:lnTo>
                <a:lnTo>
                  <a:pt x="2147112" y="369925"/>
                </a:lnTo>
                <a:close/>
              </a:path>
            </a:pathLst>
          </a:custGeom>
          <a:solidFill>
            <a:srgbClr val="0095DA"/>
          </a:solidFill>
        </p:spPr>
        <p:txBody>
          <a:bodyPr wrap="square" lIns="0" tIns="0" rIns="0" bIns="0" rtlCol="0"/>
          <a:lstStyle/>
          <a:p>
            <a:endParaRPr sz="2700"/>
          </a:p>
        </p:txBody>
      </p:sp>
      <p:sp>
        <p:nvSpPr>
          <p:cNvPr id="31" name="object 119"/>
          <p:cNvSpPr/>
          <p:nvPr/>
        </p:nvSpPr>
        <p:spPr>
          <a:xfrm>
            <a:off x="3126491" y="6938920"/>
            <a:ext cx="3350397" cy="1587950"/>
          </a:xfrm>
          <a:custGeom>
            <a:avLst/>
            <a:gdLst/>
            <a:ahLst/>
            <a:cxnLst/>
            <a:rect l="l" t="t" r="r" b="b"/>
            <a:pathLst>
              <a:path w="2141854" h="844550">
                <a:moveTo>
                  <a:pt x="0" y="0"/>
                </a:moveTo>
                <a:lnTo>
                  <a:pt x="0" y="369912"/>
                </a:lnTo>
                <a:lnTo>
                  <a:pt x="713524" y="369925"/>
                </a:lnTo>
                <a:lnTo>
                  <a:pt x="1102982" y="787311"/>
                </a:lnTo>
                <a:lnTo>
                  <a:pt x="1132223" y="812024"/>
                </a:lnTo>
                <a:lnTo>
                  <a:pt x="1164882" y="829705"/>
                </a:lnTo>
                <a:lnTo>
                  <a:pt x="1199826" y="840330"/>
                </a:lnTo>
                <a:lnTo>
                  <a:pt x="1235925" y="843876"/>
                </a:lnTo>
                <a:lnTo>
                  <a:pt x="1235925" y="844384"/>
                </a:lnTo>
                <a:lnTo>
                  <a:pt x="2141537" y="844397"/>
                </a:lnTo>
                <a:lnTo>
                  <a:pt x="2141550" y="474484"/>
                </a:lnTo>
                <a:lnTo>
                  <a:pt x="1314221" y="474472"/>
                </a:lnTo>
                <a:lnTo>
                  <a:pt x="934466" y="67233"/>
                </a:lnTo>
                <a:lnTo>
                  <a:pt x="905941" y="39408"/>
                </a:lnTo>
                <a:lnTo>
                  <a:pt x="871955" y="18226"/>
                </a:lnTo>
                <a:lnTo>
                  <a:pt x="833565" y="4742"/>
                </a:lnTo>
                <a:lnTo>
                  <a:pt x="791832" y="12"/>
                </a:lnTo>
                <a:lnTo>
                  <a:pt x="0" y="0"/>
                </a:lnTo>
                <a:close/>
              </a:path>
            </a:pathLst>
          </a:custGeom>
          <a:solidFill>
            <a:srgbClr val="0095DA"/>
          </a:solidFill>
        </p:spPr>
        <p:txBody>
          <a:bodyPr wrap="square" lIns="0" tIns="0" rIns="0" bIns="0" rtlCol="0"/>
          <a:lstStyle/>
          <a:p>
            <a:endParaRPr sz="2700"/>
          </a:p>
        </p:txBody>
      </p:sp>
      <p:sp>
        <p:nvSpPr>
          <p:cNvPr id="32" name="object 120"/>
          <p:cNvSpPr/>
          <p:nvPr/>
        </p:nvSpPr>
        <p:spPr>
          <a:xfrm>
            <a:off x="2412114" y="6868832"/>
            <a:ext cx="4064773" cy="2160240"/>
          </a:xfrm>
          <a:custGeom>
            <a:avLst/>
            <a:gdLst/>
            <a:ahLst/>
            <a:cxnLst/>
            <a:rect l="l" t="t" r="r" b="b"/>
            <a:pathLst>
              <a:path w="2618104" h="1254759">
                <a:moveTo>
                  <a:pt x="0" y="0"/>
                </a:moveTo>
                <a:lnTo>
                  <a:pt x="0" y="369912"/>
                </a:lnTo>
                <a:lnTo>
                  <a:pt x="608761" y="369925"/>
                </a:lnTo>
                <a:lnTo>
                  <a:pt x="1390459" y="1197394"/>
                </a:lnTo>
                <a:lnTo>
                  <a:pt x="1419698" y="1222115"/>
                </a:lnTo>
                <a:lnTo>
                  <a:pt x="1452352" y="1239799"/>
                </a:lnTo>
                <a:lnTo>
                  <a:pt x="1487293" y="1250425"/>
                </a:lnTo>
                <a:lnTo>
                  <a:pt x="1523390" y="1253972"/>
                </a:lnTo>
                <a:lnTo>
                  <a:pt x="1523390" y="1254480"/>
                </a:lnTo>
                <a:lnTo>
                  <a:pt x="2618003" y="1254493"/>
                </a:lnTo>
                <a:lnTo>
                  <a:pt x="2618003" y="884580"/>
                </a:lnTo>
                <a:lnTo>
                  <a:pt x="1601698" y="884567"/>
                </a:lnTo>
                <a:lnTo>
                  <a:pt x="829703" y="67221"/>
                </a:lnTo>
                <a:lnTo>
                  <a:pt x="801178" y="39403"/>
                </a:lnTo>
                <a:lnTo>
                  <a:pt x="767191" y="18224"/>
                </a:lnTo>
                <a:lnTo>
                  <a:pt x="728798" y="4741"/>
                </a:lnTo>
                <a:lnTo>
                  <a:pt x="687057" y="12"/>
                </a:lnTo>
                <a:lnTo>
                  <a:pt x="0" y="0"/>
                </a:lnTo>
                <a:close/>
              </a:path>
            </a:pathLst>
          </a:custGeom>
          <a:solidFill>
            <a:srgbClr val="00AEEF"/>
          </a:solidFill>
        </p:spPr>
        <p:txBody>
          <a:bodyPr wrap="square" lIns="0" tIns="0" rIns="0" bIns="0" rtlCol="0"/>
          <a:lstStyle/>
          <a:p>
            <a:endParaRPr sz="2700"/>
          </a:p>
        </p:txBody>
      </p:sp>
      <p:sp>
        <p:nvSpPr>
          <p:cNvPr id="33" name="object 121"/>
          <p:cNvSpPr/>
          <p:nvPr/>
        </p:nvSpPr>
        <p:spPr>
          <a:xfrm>
            <a:off x="2417479" y="6455958"/>
            <a:ext cx="4059408" cy="3283356"/>
          </a:xfrm>
          <a:custGeom>
            <a:avLst/>
            <a:gdLst/>
            <a:ahLst/>
            <a:cxnLst/>
            <a:rect l="l" t="t" r="r" b="b"/>
            <a:pathLst>
              <a:path w="2618104" h="1718309">
                <a:moveTo>
                  <a:pt x="77304" y="0"/>
                </a:moveTo>
                <a:lnTo>
                  <a:pt x="0" y="0"/>
                </a:lnTo>
                <a:lnTo>
                  <a:pt x="0" y="370967"/>
                </a:lnTo>
                <a:lnTo>
                  <a:pt x="1215732" y="1660969"/>
                </a:lnTo>
                <a:lnTo>
                  <a:pt x="1244966" y="1685690"/>
                </a:lnTo>
                <a:lnTo>
                  <a:pt x="1312564" y="1714001"/>
                </a:lnTo>
                <a:lnTo>
                  <a:pt x="1348663" y="1717548"/>
                </a:lnTo>
                <a:lnTo>
                  <a:pt x="1348663" y="1718056"/>
                </a:lnTo>
                <a:lnTo>
                  <a:pt x="2618003" y="1718068"/>
                </a:lnTo>
                <a:lnTo>
                  <a:pt x="2618003" y="1348155"/>
                </a:lnTo>
                <a:lnTo>
                  <a:pt x="1426959" y="1348143"/>
                </a:lnTo>
                <a:lnTo>
                  <a:pt x="219938" y="67221"/>
                </a:lnTo>
                <a:lnTo>
                  <a:pt x="191413" y="39395"/>
                </a:lnTo>
                <a:lnTo>
                  <a:pt x="157427" y="18213"/>
                </a:lnTo>
                <a:lnTo>
                  <a:pt x="119038" y="4729"/>
                </a:lnTo>
                <a:lnTo>
                  <a:pt x="77304" y="0"/>
                </a:lnTo>
                <a:close/>
              </a:path>
            </a:pathLst>
          </a:custGeom>
          <a:solidFill>
            <a:srgbClr val="8ED8F8"/>
          </a:solidFill>
        </p:spPr>
        <p:txBody>
          <a:bodyPr wrap="square" lIns="0" tIns="0" rIns="0" bIns="0" rtlCol="0"/>
          <a:lstStyle/>
          <a:p>
            <a:endParaRPr sz="2700"/>
          </a:p>
        </p:txBody>
      </p:sp>
      <p:sp>
        <p:nvSpPr>
          <p:cNvPr id="34" name="object 124"/>
          <p:cNvSpPr/>
          <p:nvPr/>
        </p:nvSpPr>
        <p:spPr>
          <a:xfrm>
            <a:off x="2517992" y="1998467"/>
            <a:ext cx="3980144" cy="3037022"/>
          </a:xfrm>
          <a:custGeom>
            <a:avLst/>
            <a:gdLst/>
            <a:ahLst/>
            <a:cxnLst/>
            <a:rect l="l" t="t" r="r" b="b"/>
            <a:pathLst>
              <a:path w="2618104" h="1718310">
                <a:moveTo>
                  <a:pt x="1343164" y="0"/>
                </a:moveTo>
                <a:lnTo>
                  <a:pt x="1343164" y="507"/>
                </a:lnTo>
                <a:lnTo>
                  <a:pt x="1307065" y="4054"/>
                </a:lnTo>
                <a:lnTo>
                  <a:pt x="1272122" y="14679"/>
                </a:lnTo>
                <a:lnTo>
                  <a:pt x="1239467" y="32360"/>
                </a:lnTo>
                <a:lnTo>
                  <a:pt x="1210233" y="57073"/>
                </a:lnTo>
                <a:lnTo>
                  <a:pt x="0" y="1341158"/>
                </a:lnTo>
                <a:lnTo>
                  <a:pt x="0" y="1718017"/>
                </a:lnTo>
                <a:lnTo>
                  <a:pt x="71755" y="1718017"/>
                </a:lnTo>
                <a:lnTo>
                  <a:pt x="113488" y="1713288"/>
                </a:lnTo>
                <a:lnTo>
                  <a:pt x="151877" y="1699806"/>
                </a:lnTo>
                <a:lnTo>
                  <a:pt x="185863" y="1678627"/>
                </a:lnTo>
                <a:lnTo>
                  <a:pt x="214388" y="1650809"/>
                </a:lnTo>
                <a:lnTo>
                  <a:pt x="1421460" y="369925"/>
                </a:lnTo>
                <a:lnTo>
                  <a:pt x="2618041" y="369925"/>
                </a:lnTo>
                <a:lnTo>
                  <a:pt x="2618054" y="25"/>
                </a:lnTo>
                <a:lnTo>
                  <a:pt x="1343164" y="0"/>
                </a:lnTo>
                <a:close/>
              </a:path>
              <a:path w="2618104" h="1718310">
                <a:moveTo>
                  <a:pt x="2618041" y="369925"/>
                </a:moveTo>
                <a:lnTo>
                  <a:pt x="1421460" y="369925"/>
                </a:lnTo>
                <a:lnTo>
                  <a:pt x="2618041" y="369938"/>
                </a:lnTo>
                <a:close/>
              </a:path>
            </a:pathLst>
          </a:custGeom>
          <a:solidFill>
            <a:srgbClr val="8ED8F8"/>
          </a:solidFill>
        </p:spPr>
        <p:txBody>
          <a:bodyPr wrap="square" lIns="0" tIns="0" rIns="0" bIns="0" rtlCol="0"/>
          <a:lstStyle/>
          <a:p>
            <a:endParaRPr sz="2700"/>
          </a:p>
        </p:txBody>
      </p:sp>
      <p:sp>
        <p:nvSpPr>
          <p:cNvPr id="35" name="object 116"/>
          <p:cNvSpPr/>
          <p:nvPr/>
        </p:nvSpPr>
        <p:spPr>
          <a:xfrm>
            <a:off x="11750471" y="2602974"/>
            <a:ext cx="4028018" cy="2084676"/>
          </a:xfrm>
          <a:custGeom>
            <a:avLst/>
            <a:gdLst/>
            <a:ahLst/>
            <a:cxnLst/>
            <a:rect l="l" t="t" r="r" b="b"/>
            <a:pathLst>
              <a:path w="2614929" h="1252854">
                <a:moveTo>
                  <a:pt x="1098638" y="0"/>
                </a:moveTo>
                <a:lnTo>
                  <a:pt x="0" y="0"/>
                </a:lnTo>
                <a:lnTo>
                  <a:pt x="0" y="369354"/>
                </a:lnTo>
                <a:lnTo>
                  <a:pt x="1020445" y="369354"/>
                </a:lnTo>
                <a:lnTo>
                  <a:pt x="1791385" y="1185443"/>
                </a:lnTo>
                <a:lnTo>
                  <a:pt x="1819868" y="1213218"/>
                </a:lnTo>
                <a:lnTo>
                  <a:pt x="1853806" y="1234365"/>
                </a:lnTo>
                <a:lnTo>
                  <a:pt x="1892144" y="1247827"/>
                </a:lnTo>
                <a:lnTo>
                  <a:pt x="1933829" y="1252550"/>
                </a:lnTo>
                <a:lnTo>
                  <a:pt x="2614396" y="1252550"/>
                </a:lnTo>
                <a:lnTo>
                  <a:pt x="2614396" y="883196"/>
                </a:lnTo>
                <a:lnTo>
                  <a:pt x="2012010" y="883196"/>
                </a:lnTo>
                <a:lnTo>
                  <a:pt x="1231379" y="56997"/>
                </a:lnTo>
                <a:lnTo>
                  <a:pt x="1202185" y="32317"/>
                </a:lnTo>
                <a:lnTo>
                  <a:pt x="1169576" y="14660"/>
                </a:lnTo>
                <a:lnTo>
                  <a:pt x="1134683" y="4049"/>
                </a:lnTo>
                <a:lnTo>
                  <a:pt x="1098638" y="507"/>
                </a:lnTo>
                <a:lnTo>
                  <a:pt x="1098638" y="0"/>
                </a:lnTo>
                <a:close/>
              </a:path>
            </a:pathLst>
          </a:custGeom>
          <a:solidFill>
            <a:srgbClr val="7670B3"/>
          </a:solidFill>
        </p:spPr>
        <p:txBody>
          <a:bodyPr wrap="square" lIns="0" tIns="0" rIns="0" bIns="0" rtlCol="0"/>
          <a:lstStyle/>
          <a:p>
            <a:endParaRPr sz="2700"/>
          </a:p>
        </p:txBody>
      </p:sp>
      <p:sp>
        <p:nvSpPr>
          <p:cNvPr id="36" name="object 115"/>
          <p:cNvSpPr/>
          <p:nvPr/>
        </p:nvSpPr>
        <p:spPr>
          <a:xfrm>
            <a:off x="11750469" y="3102348"/>
            <a:ext cx="3808743" cy="1753224"/>
          </a:xfrm>
          <a:custGeom>
            <a:avLst/>
            <a:gdLst/>
            <a:ahLst/>
            <a:cxnLst/>
            <a:rect l="l" t="t" r="r" b="b"/>
            <a:pathLst>
              <a:path w="2144395" h="843279">
                <a:moveTo>
                  <a:pt x="909904" y="0"/>
                </a:moveTo>
                <a:lnTo>
                  <a:pt x="0" y="0"/>
                </a:lnTo>
                <a:lnTo>
                  <a:pt x="0" y="369354"/>
                </a:lnTo>
                <a:lnTo>
                  <a:pt x="831723" y="369354"/>
                </a:lnTo>
                <a:lnTo>
                  <a:pt x="1210957" y="775970"/>
                </a:lnTo>
                <a:lnTo>
                  <a:pt x="1239440" y="803745"/>
                </a:lnTo>
                <a:lnTo>
                  <a:pt x="1273378" y="824891"/>
                </a:lnTo>
                <a:lnTo>
                  <a:pt x="1311716" y="838354"/>
                </a:lnTo>
                <a:lnTo>
                  <a:pt x="1353400" y="843076"/>
                </a:lnTo>
                <a:lnTo>
                  <a:pt x="2144128" y="843076"/>
                </a:lnTo>
                <a:lnTo>
                  <a:pt x="2144128" y="473722"/>
                </a:lnTo>
                <a:lnTo>
                  <a:pt x="1431582" y="473722"/>
                </a:lnTo>
                <a:lnTo>
                  <a:pt x="1042657" y="56984"/>
                </a:lnTo>
                <a:lnTo>
                  <a:pt x="1013458" y="32306"/>
                </a:lnTo>
                <a:lnTo>
                  <a:pt x="980847" y="14652"/>
                </a:lnTo>
                <a:lnTo>
                  <a:pt x="945954" y="4042"/>
                </a:lnTo>
                <a:lnTo>
                  <a:pt x="909904" y="495"/>
                </a:lnTo>
                <a:lnTo>
                  <a:pt x="909904" y="0"/>
                </a:lnTo>
                <a:close/>
              </a:path>
            </a:pathLst>
          </a:custGeom>
          <a:solidFill>
            <a:srgbClr val="A54686"/>
          </a:solidFill>
        </p:spPr>
        <p:txBody>
          <a:bodyPr wrap="square" lIns="0" tIns="0" rIns="0" bIns="0" rtlCol="0"/>
          <a:lstStyle/>
          <a:p>
            <a:endParaRPr sz="2700">
              <a:solidFill>
                <a:srgbClr val="A54686"/>
              </a:solidFill>
            </a:endParaRPr>
          </a:p>
        </p:txBody>
      </p:sp>
      <p:sp>
        <p:nvSpPr>
          <p:cNvPr id="37" name="object 117"/>
          <p:cNvSpPr/>
          <p:nvPr/>
        </p:nvSpPr>
        <p:spPr>
          <a:xfrm>
            <a:off x="11746281" y="2019847"/>
            <a:ext cx="4032207" cy="2824004"/>
          </a:xfrm>
          <a:custGeom>
            <a:avLst/>
            <a:gdLst/>
            <a:ahLst/>
            <a:cxnLst/>
            <a:rect l="l" t="t" r="r" b="b"/>
            <a:pathLst>
              <a:path w="2614929" h="1715770">
                <a:moveTo>
                  <a:pt x="1273124" y="0"/>
                </a:moveTo>
                <a:lnTo>
                  <a:pt x="0" y="0"/>
                </a:lnTo>
                <a:lnTo>
                  <a:pt x="0" y="369354"/>
                </a:lnTo>
                <a:lnTo>
                  <a:pt x="1194930" y="369354"/>
                </a:lnTo>
                <a:lnTo>
                  <a:pt x="2400300" y="1648307"/>
                </a:lnTo>
                <a:lnTo>
                  <a:pt x="2428789" y="1676082"/>
                </a:lnTo>
                <a:lnTo>
                  <a:pt x="2462730" y="1697229"/>
                </a:lnTo>
                <a:lnTo>
                  <a:pt x="2501066" y="1710692"/>
                </a:lnTo>
                <a:lnTo>
                  <a:pt x="2542743" y="1715414"/>
                </a:lnTo>
                <a:lnTo>
                  <a:pt x="2614396" y="1715414"/>
                </a:lnTo>
                <a:lnTo>
                  <a:pt x="2614396" y="1339126"/>
                </a:lnTo>
                <a:lnTo>
                  <a:pt x="1405864" y="56984"/>
                </a:lnTo>
                <a:lnTo>
                  <a:pt x="1376671" y="32306"/>
                </a:lnTo>
                <a:lnTo>
                  <a:pt x="1344061" y="14652"/>
                </a:lnTo>
                <a:lnTo>
                  <a:pt x="1309168" y="4042"/>
                </a:lnTo>
                <a:lnTo>
                  <a:pt x="1273124" y="495"/>
                </a:lnTo>
                <a:lnTo>
                  <a:pt x="1273124" y="0"/>
                </a:lnTo>
                <a:close/>
              </a:path>
            </a:pathLst>
          </a:custGeom>
          <a:solidFill>
            <a:srgbClr val="C7C4E2"/>
          </a:solidFill>
        </p:spPr>
        <p:txBody>
          <a:bodyPr wrap="square" lIns="0" tIns="0" rIns="0" bIns="0" rtlCol="0"/>
          <a:lstStyle/>
          <a:p>
            <a:endParaRPr sz="2700"/>
          </a:p>
        </p:txBody>
      </p:sp>
      <p:sp>
        <p:nvSpPr>
          <p:cNvPr id="38" name="object 113"/>
          <p:cNvSpPr/>
          <p:nvPr/>
        </p:nvSpPr>
        <p:spPr>
          <a:xfrm>
            <a:off x="11758084" y="7046501"/>
            <a:ext cx="4032207" cy="2198625"/>
          </a:xfrm>
          <a:custGeom>
            <a:avLst/>
            <a:gdLst/>
            <a:ahLst/>
            <a:cxnLst/>
            <a:rect l="l" t="t" r="r" b="b"/>
            <a:pathLst>
              <a:path w="2614929" h="1252854">
                <a:moveTo>
                  <a:pt x="2614396" y="0"/>
                </a:moveTo>
                <a:lnTo>
                  <a:pt x="1928291" y="0"/>
                </a:lnTo>
                <a:lnTo>
                  <a:pt x="1886607" y="4722"/>
                </a:lnTo>
                <a:lnTo>
                  <a:pt x="1848269" y="18184"/>
                </a:lnTo>
                <a:lnTo>
                  <a:pt x="1814331" y="39331"/>
                </a:lnTo>
                <a:lnTo>
                  <a:pt x="1785848" y="67106"/>
                </a:lnTo>
                <a:lnTo>
                  <a:pt x="1014907" y="883196"/>
                </a:lnTo>
                <a:lnTo>
                  <a:pt x="0" y="883196"/>
                </a:lnTo>
                <a:lnTo>
                  <a:pt x="0" y="1252550"/>
                </a:lnTo>
                <a:lnTo>
                  <a:pt x="1093089" y="1252550"/>
                </a:lnTo>
                <a:lnTo>
                  <a:pt x="1093089" y="1252042"/>
                </a:lnTo>
                <a:lnTo>
                  <a:pt x="1129140" y="1248500"/>
                </a:lnTo>
                <a:lnTo>
                  <a:pt x="1164037" y="1237889"/>
                </a:lnTo>
                <a:lnTo>
                  <a:pt x="1196648" y="1220232"/>
                </a:lnTo>
                <a:lnTo>
                  <a:pt x="1225842" y="1195552"/>
                </a:lnTo>
                <a:lnTo>
                  <a:pt x="2006473" y="369354"/>
                </a:lnTo>
                <a:lnTo>
                  <a:pt x="2614396" y="369354"/>
                </a:lnTo>
                <a:lnTo>
                  <a:pt x="2614396" y="0"/>
                </a:lnTo>
                <a:close/>
              </a:path>
            </a:pathLst>
          </a:custGeom>
          <a:solidFill>
            <a:srgbClr val="7670B3"/>
          </a:solidFill>
        </p:spPr>
        <p:txBody>
          <a:bodyPr wrap="square" lIns="0" tIns="0" rIns="0" bIns="0" rtlCol="0"/>
          <a:lstStyle/>
          <a:p>
            <a:endParaRPr sz="2700"/>
          </a:p>
        </p:txBody>
      </p:sp>
      <p:sp>
        <p:nvSpPr>
          <p:cNvPr id="39" name="object 112"/>
          <p:cNvSpPr/>
          <p:nvPr/>
        </p:nvSpPr>
        <p:spPr>
          <a:xfrm>
            <a:off x="11750470" y="6775314"/>
            <a:ext cx="3915935" cy="1831422"/>
          </a:xfrm>
          <a:custGeom>
            <a:avLst/>
            <a:gdLst/>
            <a:ahLst/>
            <a:cxnLst/>
            <a:rect l="l" t="t" r="r" b="b"/>
            <a:pathLst>
              <a:path w="2138679" h="843279">
                <a:moveTo>
                  <a:pt x="2138578" y="0"/>
                </a:moveTo>
                <a:lnTo>
                  <a:pt x="1347851" y="0"/>
                </a:lnTo>
                <a:lnTo>
                  <a:pt x="1306166" y="4722"/>
                </a:lnTo>
                <a:lnTo>
                  <a:pt x="1267828" y="18184"/>
                </a:lnTo>
                <a:lnTo>
                  <a:pt x="1233890" y="39331"/>
                </a:lnTo>
                <a:lnTo>
                  <a:pt x="1205407" y="67106"/>
                </a:lnTo>
                <a:lnTo>
                  <a:pt x="826173" y="473722"/>
                </a:lnTo>
                <a:lnTo>
                  <a:pt x="0" y="473722"/>
                </a:lnTo>
                <a:lnTo>
                  <a:pt x="0" y="843076"/>
                </a:lnTo>
                <a:lnTo>
                  <a:pt x="904354" y="843076"/>
                </a:lnTo>
                <a:lnTo>
                  <a:pt x="904354" y="842581"/>
                </a:lnTo>
                <a:lnTo>
                  <a:pt x="940404" y="839034"/>
                </a:lnTo>
                <a:lnTo>
                  <a:pt x="975298" y="828424"/>
                </a:lnTo>
                <a:lnTo>
                  <a:pt x="1007908" y="810770"/>
                </a:lnTo>
                <a:lnTo>
                  <a:pt x="1037107" y="786091"/>
                </a:lnTo>
                <a:lnTo>
                  <a:pt x="1426032" y="369354"/>
                </a:lnTo>
                <a:lnTo>
                  <a:pt x="2138578" y="369354"/>
                </a:lnTo>
                <a:lnTo>
                  <a:pt x="2138578" y="0"/>
                </a:lnTo>
                <a:close/>
              </a:path>
            </a:pathLst>
          </a:custGeom>
          <a:solidFill>
            <a:srgbClr val="A54686"/>
          </a:solidFill>
        </p:spPr>
        <p:txBody>
          <a:bodyPr wrap="square" lIns="0" tIns="0" rIns="0" bIns="0" rtlCol="0"/>
          <a:lstStyle/>
          <a:p>
            <a:endParaRPr sz="2700"/>
          </a:p>
        </p:txBody>
      </p:sp>
      <p:sp>
        <p:nvSpPr>
          <p:cNvPr id="40" name="object 114"/>
          <p:cNvSpPr/>
          <p:nvPr/>
        </p:nvSpPr>
        <p:spPr>
          <a:xfrm>
            <a:off x="11750470" y="6931512"/>
            <a:ext cx="4039821" cy="2807802"/>
          </a:xfrm>
          <a:custGeom>
            <a:avLst/>
            <a:gdLst/>
            <a:ahLst/>
            <a:cxnLst/>
            <a:rect l="l" t="t" r="r" b="b"/>
            <a:pathLst>
              <a:path w="2614929" h="1715770">
                <a:moveTo>
                  <a:pt x="2614396" y="0"/>
                </a:moveTo>
                <a:lnTo>
                  <a:pt x="2537206" y="0"/>
                </a:lnTo>
                <a:lnTo>
                  <a:pt x="2495521" y="4722"/>
                </a:lnTo>
                <a:lnTo>
                  <a:pt x="2457183" y="18184"/>
                </a:lnTo>
                <a:lnTo>
                  <a:pt x="2423245" y="39331"/>
                </a:lnTo>
                <a:lnTo>
                  <a:pt x="2394762" y="67106"/>
                </a:lnTo>
                <a:lnTo>
                  <a:pt x="1189393" y="1346060"/>
                </a:lnTo>
                <a:lnTo>
                  <a:pt x="0" y="1346060"/>
                </a:lnTo>
                <a:lnTo>
                  <a:pt x="0" y="1715414"/>
                </a:lnTo>
                <a:lnTo>
                  <a:pt x="1267574" y="1715414"/>
                </a:lnTo>
                <a:lnTo>
                  <a:pt x="1267574" y="1714919"/>
                </a:lnTo>
                <a:lnTo>
                  <a:pt x="1303624" y="1711371"/>
                </a:lnTo>
                <a:lnTo>
                  <a:pt x="1338518" y="1700761"/>
                </a:lnTo>
                <a:lnTo>
                  <a:pt x="1371128" y="1683107"/>
                </a:lnTo>
                <a:lnTo>
                  <a:pt x="1400327" y="1658429"/>
                </a:lnTo>
                <a:lnTo>
                  <a:pt x="2614396" y="370408"/>
                </a:lnTo>
                <a:lnTo>
                  <a:pt x="2614396" y="0"/>
                </a:lnTo>
                <a:close/>
              </a:path>
            </a:pathLst>
          </a:custGeom>
          <a:solidFill>
            <a:srgbClr val="C7C4E2"/>
          </a:solidFill>
        </p:spPr>
        <p:txBody>
          <a:bodyPr wrap="square" lIns="0" tIns="0" rIns="0" bIns="0" rtlCol="0"/>
          <a:lstStyle/>
          <a:p>
            <a:endParaRPr sz="2700"/>
          </a:p>
        </p:txBody>
      </p:sp>
      <p:sp>
        <p:nvSpPr>
          <p:cNvPr id="41" name="object 111"/>
          <p:cNvSpPr/>
          <p:nvPr/>
        </p:nvSpPr>
        <p:spPr>
          <a:xfrm rot="5400000">
            <a:off x="13914740" y="5821770"/>
            <a:ext cx="3666469" cy="158596"/>
          </a:xfrm>
          <a:custGeom>
            <a:avLst/>
            <a:gdLst/>
            <a:ahLst/>
            <a:cxnLst/>
            <a:rect l="l" t="t" r="r" b="b"/>
            <a:pathLst>
              <a:path w="2614929" h="1011554">
                <a:moveTo>
                  <a:pt x="0" y="1011466"/>
                </a:moveTo>
                <a:lnTo>
                  <a:pt x="2614396" y="1011466"/>
                </a:lnTo>
                <a:lnTo>
                  <a:pt x="2614396" y="0"/>
                </a:lnTo>
                <a:lnTo>
                  <a:pt x="0" y="0"/>
                </a:lnTo>
                <a:lnTo>
                  <a:pt x="0" y="1011466"/>
                </a:lnTo>
                <a:close/>
              </a:path>
            </a:pathLst>
          </a:custGeom>
          <a:solidFill>
            <a:srgbClr val="A54686"/>
          </a:solidFill>
        </p:spPr>
        <p:txBody>
          <a:bodyPr wrap="square" lIns="0" tIns="0" rIns="0" bIns="0" rtlCol="0"/>
          <a:lstStyle/>
          <a:p>
            <a:endParaRPr sz="2700"/>
          </a:p>
        </p:txBody>
      </p:sp>
      <p:sp>
        <p:nvSpPr>
          <p:cNvPr id="42" name="object 118"/>
          <p:cNvSpPr/>
          <p:nvPr/>
        </p:nvSpPr>
        <p:spPr>
          <a:xfrm rot="5400000">
            <a:off x="778141" y="5665719"/>
            <a:ext cx="3451826" cy="160010"/>
          </a:xfrm>
          <a:custGeom>
            <a:avLst/>
            <a:gdLst/>
            <a:ahLst/>
            <a:cxnLst/>
            <a:rect l="l" t="t" r="r" b="b"/>
            <a:pathLst>
              <a:path w="2618104" h="1013460">
                <a:moveTo>
                  <a:pt x="0" y="1013002"/>
                </a:moveTo>
                <a:lnTo>
                  <a:pt x="2618028" y="1013040"/>
                </a:lnTo>
                <a:lnTo>
                  <a:pt x="2618041" y="38"/>
                </a:lnTo>
                <a:lnTo>
                  <a:pt x="12" y="0"/>
                </a:lnTo>
                <a:lnTo>
                  <a:pt x="0" y="1013002"/>
                </a:lnTo>
                <a:close/>
              </a:path>
            </a:pathLst>
          </a:custGeom>
          <a:solidFill>
            <a:srgbClr val="0095DA"/>
          </a:solidFill>
        </p:spPr>
        <p:txBody>
          <a:bodyPr wrap="square" lIns="0" tIns="0" rIns="0" bIns="0" rtlCol="0"/>
          <a:lstStyle/>
          <a:p>
            <a:endParaRPr sz="2700"/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6526012" y="1979363"/>
            <a:ext cx="5199359" cy="7765468"/>
          </a:xfrm>
          <a:prstGeom prst="roundRect">
            <a:avLst>
              <a:gd name="adj" fmla="val 631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50" b="1" dirty="0">
                <a:solidFill>
                  <a:schemeClr val="tx1"/>
                </a:solidFill>
                <a:latin typeface="Montserrat ExtraBold" panose="020B0604020202020204" charset="-52"/>
              </a:rPr>
              <a:t>Общегосударственные вопросы</a:t>
            </a: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r>
              <a:rPr lang="ru-RU" sz="1350" b="1" dirty="0">
                <a:solidFill>
                  <a:schemeClr val="tx1"/>
                </a:solidFill>
                <a:latin typeface="Montserrat ExtraBold" panose="020B0604020202020204" charset="-52"/>
              </a:rPr>
              <a:t>Национальная безопасность </a:t>
            </a:r>
          </a:p>
          <a:p>
            <a:pPr algn="ctr"/>
            <a:r>
              <a:rPr lang="ru-RU" sz="1350" b="1" dirty="0">
                <a:solidFill>
                  <a:schemeClr val="tx1"/>
                </a:solidFill>
                <a:latin typeface="Montserrat ExtraBold" panose="020B0604020202020204" charset="-52"/>
              </a:rPr>
              <a:t>и правоохранительная деятельность</a:t>
            </a: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r>
              <a:rPr lang="ru-RU" sz="1350" b="1" dirty="0">
                <a:solidFill>
                  <a:schemeClr val="tx1"/>
                </a:solidFill>
                <a:latin typeface="Montserrat ExtraBold" panose="020B0604020202020204" charset="-52"/>
              </a:rPr>
              <a:t>Национальная экономика</a:t>
            </a:r>
          </a:p>
          <a:p>
            <a:pPr algn="ctr"/>
            <a:endParaRPr lang="ru-RU" sz="1350" b="1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r>
              <a:rPr lang="ru-RU" sz="135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Жилищно-коммунальное </a:t>
            </a:r>
          </a:p>
          <a:p>
            <a:pPr algn="ctr"/>
            <a:r>
              <a:rPr lang="ru-RU" sz="135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хозяйство</a:t>
            </a:r>
            <a:endParaRPr lang="ru-RU" sz="1350" b="1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r>
              <a:rPr lang="ru-RU" sz="1650" b="1" dirty="0">
                <a:solidFill>
                  <a:schemeClr val="tx1"/>
                </a:solidFill>
                <a:latin typeface="Montserrat ExtraBold" panose="020B0604020202020204" charset="-52"/>
              </a:rPr>
              <a:t>Образование</a:t>
            </a: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r>
              <a:rPr lang="ru-RU" sz="1500" b="1" dirty="0">
                <a:solidFill>
                  <a:schemeClr val="tx1"/>
                </a:solidFill>
                <a:latin typeface="Montserrat ExtraBold" panose="020B0604020202020204" charset="-52"/>
              </a:rPr>
              <a:t>Культура, кинематография</a:t>
            </a: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r>
              <a:rPr lang="ru-RU" sz="1500" b="1" dirty="0">
                <a:solidFill>
                  <a:schemeClr val="tx1"/>
                </a:solidFill>
                <a:latin typeface="Montserrat ExtraBold" panose="020B0604020202020204" charset="-52"/>
              </a:rPr>
              <a:t>Социальная политика</a:t>
            </a: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r>
              <a:rPr lang="ru-RU" sz="1500" b="1" dirty="0">
                <a:solidFill>
                  <a:schemeClr val="tx1"/>
                </a:solidFill>
                <a:latin typeface="Montserrat ExtraBold" panose="020B0604020202020204" charset="-52"/>
              </a:rPr>
              <a:t>Физическая </a:t>
            </a:r>
            <a:r>
              <a:rPr lang="ru-RU" sz="15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культура</a:t>
            </a:r>
          </a:p>
          <a:p>
            <a:pPr algn="ctr"/>
            <a:r>
              <a:rPr lang="ru-RU" sz="15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 </a:t>
            </a:r>
            <a:r>
              <a:rPr lang="ru-RU" sz="1500" b="1" dirty="0">
                <a:solidFill>
                  <a:schemeClr val="tx1"/>
                </a:solidFill>
                <a:latin typeface="Montserrat ExtraBold" panose="020B0604020202020204" charset="-52"/>
              </a:rPr>
              <a:t>и спорт</a:t>
            </a:r>
          </a:p>
          <a:p>
            <a:pPr algn="ctr"/>
            <a:endParaRPr lang="ru-RU" sz="1500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r>
              <a:rPr lang="ru-RU" sz="135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Обслуживание </a:t>
            </a:r>
            <a:r>
              <a:rPr lang="ru-RU" sz="1350" b="1" dirty="0">
                <a:solidFill>
                  <a:schemeClr val="tx1"/>
                </a:solidFill>
                <a:latin typeface="Montserrat ExtraBold" panose="020B0604020202020204" charset="-52"/>
              </a:rPr>
              <a:t>муниципального </a:t>
            </a:r>
          </a:p>
          <a:p>
            <a:pPr algn="ctr"/>
            <a:r>
              <a:rPr lang="ru-RU" sz="1350" b="1" dirty="0">
                <a:solidFill>
                  <a:schemeClr val="tx1"/>
                </a:solidFill>
                <a:latin typeface="Montserrat ExtraBold" panose="020B0604020202020204" charset="-52"/>
              </a:rPr>
              <a:t>долга</a:t>
            </a:r>
          </a:p>
          <a:p>
            <a:pPr algn="ctr"/>
            <a:endParaRPr lang="ru-RU" sz="1350" dirty="0">
              <a:solidFill>
                <a:schemeClr val="tx1"/>
              </a:solidFill>
              <a:latin typeface="Montserrat ExtraBold" panose="020B0604020202020204" charset="-52"/>
            </a:endParaRPr>
          </a:p>
        </p:txBody>
      </p:sp>
      <p:sp>
        <p:nvSpPr>
          <p:cNvPr id="44" name="Овал 43"/>
          <p:cNvSpPr/>
          <p:nvPr/>
        </p:nvSpPr>
        <p:spPr>
          <a:xfrm>
            <a:off x="2924695" y="5221829"/>
            <a:ext cx="1376966" cy="1208205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1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2021</a:t>
            </a:r>
            <a:endParaRPr lang="ru-RU" sz="2100" b="1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r>
              <a:rPr lang="ru-RU" sz="1200" dirty="0">
                <a:solidFill>
                  <a:schemeClr val="tx1"/>
                </a:solidFill>
                <a:latin typeface="Montserrat ExtraBold" panose="020B0604020202020204" charset="-52"/>
              </a:rPr>
              <a:t>(оценка)</a:t>
            </a:r>
          </a:p>
        </p:txBody>
      </p:sp>
      <p:sp>
        <p:nvSpPr>
          <p:cNvPr id="45" name="Овал 44"/>
          <p:cNvSpPr/>
          <p:nvPr/>
        </p:nvSpPr>
        <p:spPr>
          <a:xfrm>
            <a:off x="13788518" y="4939456"/>
            <a:ext cx="1770695" cy="1679660"/>
          </a:xfrm>
          <a:prstGeom prst="ellipse">
            <a:avLst/>
          </a:prstGeom>
          <a:solidFill>
            <a:schemeClr val="bg1"/>
          </a:solidFill>
          <a:ln>
            <a:solidFill>
              <a:srgbClr val="AD65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sp>
        <p:nvSpPr>
          <p:cNvPr id="46" name="Овал 45"/>
          <p:cNvSpPr/>
          <p:nvPr/>
        </p:nvSpPr>
        <p:spPr>
          <a:xfrm>
            <a:off x="14004540" y="5227563"/>
            <a:ext cx="1296144" cy="1116510"/>
          </a:xfrm>
          <a:prstGeom prst="ellipse">
            <a:avLst/>
          </a:prstGeom>
          <a:solidFill>
            <a:srgbClr val="AD6580"/>
          </a:solidFill>
          <a:ln>
            <a:solidFill>
              <a:srgbClr val="AD65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1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2022</a:t>
            </a:r>
            <a:endParaRPr lang="ru-RU" sz="2100" b="1" dirty="0">
              <a:solidFill>
                <a:schemeClr val="tx1"/>
              </a:solidFill>
              <a:latin typeface="Montserrat ExtraBold" panose="020B0604020202020204" charset="-52"/>
            </a:endParaRPr>
          </a:p>
          <a:p>
            <a:pPr algn="ctr"/>
            <a:r>
              <a:rPr lang="ru-RU" sz="1050" dirty="0">
                <a:solidFill>
                  <a:schemeClr val="tx1"/>
                </a:solidFill>
                <a:latin typeface="Montserrat ExtraBold" panose="020B0604020202020204" charset="-52"/>
              </a:rPr>
              <a:t>(проект)</a:t>
            </a:r>
          </a:p>
        </p:txBody>
      </p:sp>
      <p:sp>
        <p:nvSpPr>
          <p:cNvPr id="47" name="TextBox 46"/>
          <p:cNvSpPr txBox="1"/>
          <p:nvPr/>
        </p:nvSpPr>
        <p:spPr>
          <a:xfrm rot="16200000">
            <a:off x="4425843" y="5590483"/>
            <a:ext cx="254432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200" b="1" dirty="0" smtClean="0">
                <a:latin typeface="Montserrat ExtraBold" panose="020B0604020202020204" charset="-52"/>
              </a:rPr>
              <a:t>4039,5</a:t>
            </a:r>
            <a:endParaRPr lang="ru-RU" sz="4200" b="1" dirty="0">
              <a:latin typeface="Montserrat ExtraBold" panose="020B0604020202020204" charset="-52"/>
            </a:endParaRPr>
          </a:p>
        </p:txBody>
      </p:sp>
      <p:sp>
        <p:nvSpPr>
          <p:cNvPr id="48" name="TextBox 47"/>
          <p:cNvSpPr txBox="1"/>
          <p:nvPr/>
        </p:nvSpPr>
        <p:spPr>
          <a:xfrm rot="16200000">
            <a:off x="11240255" y="5484551"/>
            <a:ext cx="254432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200" b="1" dirty="0" smtClean="0">
                <a:latin typeface="Montserrat ExtraBold" panose="020B0604020202020204" charset="-52"/>
              </a:rPr>
              <a:t>3595,4</a:t>
            </a:r>
            <a:endParaRPr lang="ru-RU" sz="4200" b="1" dirty="0">
              <a:latin typeface="Montserrat ExtraBold" panose="020B0604020202020204" charset="-52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0708967" y="2029859"/>
            <a:ext cx="720069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rgbClr val="A54686"/>
                </a:solidFill>
                <a:latin typeface="Montserrat ExtraBold" panose="020B0604020202020204" charset="-52"/>
              </a:rPr>
              <a:t>212,6</a:t>
            </a:r>
            <a:endParaRPr lang="ru-RU" sz="1650" b="1" dirty="0">
              <a:solidFill>
                <a:srgbClr val="A54686"/>
              </a:solidFill>
              <a:latin typeface="Montserrat ExtraBold" panose="020B0604020202020204" charset="-52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837304" y="2986570"/>
            <a:ext cx="662361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rgbClr val="A54686"/>
                </a:solidFill>
                <a:latin typeface="Montserrat ExtraBold" panose="020B0604020202020204" charset="-52"/>
              </a:rPr>
              <a:t>20,4</a:t>
            </a:r>
            <a:endParaRPr lang="ru-RU" sz="1650" b="1" dirty="0">
              <a:solidFill>
                <a:srgbClr val="A54686"/>
              </a:solidFill>
              <a:latin typeface="Montserrat ExtraBold" panose="020B0604020202020204" charset="-52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708968" y="3895300"/>
            <a:ext cx="764953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rgbClr val="A54686"/>
                </a:solidFill>
                <a:latin typeface="Montserrat ExtraBold" panose="020B0604020202020204" charset="-52"/>
              </a:rPr>
              <a:t>332,9</a:t>
            </a:r>
            <a:endParaRPr lang="ru-RU" sz="1650" b="1" dirty="0">
              <a:solidFill>
                <a:srgbClr val="A54686"/>
              </a:solidFill>
              <a:latin typeface="Montserrat ExtraBold" panose="020B0604020202020204" charset="-52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731425" y="4714055"/>
            <a:ext cx="724878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rgbClr val="A54686"/>
                </a:solidFill>
                <a:latin typeface="Montserrat ExtraBold" panose="020B0604020202020204" charset="-52"/>
              </a:rPr>
              <a:t>285,1</a:t>
            </a:r>
            <a:endParaRPr lang="ru-RU" sz="1650" b="1" dirty="0">
              <a:solidFill>
                <a:srgbClr val="A54686"/>
              </a:solidFill>
              <a:latin typeface="Montserrat ExtraBold" panose="020B0604020202020204" charset="-52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0613605" y="5543204"/>
            <a:ext cx="877163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rgbClr val="A54686"/>
                </a:solidFill>
                <a:latin typeface="Montserrat ExtraBold" panose="020B0604020202020204" charset="-52"/>
              </a:rPr>
              <a:t>1545,0</a:t>
            </a:r>
            <a:endParaRPr lang="ru-RU" sz="1650" b="1" dirty="0">
              <a:solidFill>
                <a:srgbClr val="A54686"/>
              </a:solidFill>
              <a:latin typeface="Montserrat ExtraBold" panose="020B0604020202020204" charset="-52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0724211" y="6413671"/>
            <a:ext cx="654346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rgbClr val="A54686"/>
                </a:solidFill>
                <a:latin typeface="Montserrat ExtraBold" panose="020B0604020202020204" charset="-52"/>
              </a:rPr>
              <a:t>65,0</a:t>
            </a:r>
            <a:endParaRPr lang="ru-RU" sz="1650" b="1" dirty="0">
              <a:solidFill>
                <a:srgbClr val="A54686"/>
              </a:solidFill>
              <a:latin typeface="Montserrat ExtraBold" panose="020B0604020202020204" charset="-52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0564613" y="7169247"/>
            <a:ext cx="901209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rgbClr val="A54686"/>
                </a:solidFill>
                <a:latin typeface="Montserrat ExtraBold" panose="020B0604020202020204" charset="-52"/>
              </a:rPr>
              <a:t>1047,4</a:t>
            </a:r>
            <a:endParaRPr lang="ru-RU" sz="1650" b="1" dirty="0">
              <a:solidFill>
                <a:srgbClr val="A54686"/>
              </a:solidFill>
              <a:latin typeface="Montserrat ExtraBold" panose="020B0604020202020204" charset="-52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0767876" y="8013067"/>
            <a:ext cx="646331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rgbClr val="A54686"/>
                </a:solidFill>
                <a:latin typeface="Montserrat ExtraBold" panose="020B0604020202020204" charset="-52"/>
              </a:rPr>
              <a:t>58,7</a:t>
            </a:r>
            <a:endParaRPr lang="ru-RU" sz="1650" b="1" dirty="0">
              <a:solidFill>
                <a:srgbClr val="A54686"/>
              </a:solidFill>
              <a:latin typeface="Montserrat ExtraBold" panose="020B0604020202020204" charset="-52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731425" y="8869945"/>
            <a:ext cx="639919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rgbClr val="A54686"/>
                </a:solidFill>
                <a:latin typeface="Montserrat ExtraBold" panose="020B0604020202020204" charset="-52"/>
              </a:rPr>
              <a:t>28,3</a:t>
            </a:r>
            <a:endParaRPr lang="ru-RU" sz="1650" b="1" dirty="0">
              <a:solidFill>
                <a:srgbClr val="A54686"/>
              </a:solidFill>
              <a:latin typeface="Montserrat ExtraBold" panose="020B0604020202020204" charset="-52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617834" y="2033665"/>
            <a:ext cx="729687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Montserrat ExtraBold" panose="020B0604020202020204" charset="-52"/>
              </a:rPr>
              <a:t>221,4</a:t>
            </a:r>
            <a:endParaRPr lang="ru-RU" sz="1650" b="1" dirty="0">
              <a:solidFill>
                <a:schemeClr val="tx2">
                  <a:lumMod val="60000"/>
                  <a:lumOff val="40000"/>
                </a:schemeClr>
              </a:solidFill>
              <a:latin typeface="Montserrat ExtraBold" panose="020B0604020202020204" charset="-52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530733" y="3039433"/>
            <a:ext cx="659155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Montserrat ExtraBold" panose="020B0604020202020204" charset="-52"/>
              </a:rPr>
              <a:t>20,0</a:t>
            </a:r>
            <a:endParaRPr lang="ru-RU" sz="1650" b="1" dirty="0">
              <a:solidFill>
                <a:schemeClr val="tx2">
                  <a:lumMod val="60000"/>
                  <a:lumOff val="40000"/>
                </a:schemeClr>
              </a:solidFill>
              <a:latin typeface="Montserrat ExtraBold" panose="020B0604020202020204" charset="-52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574422" y="3895300"/>
            <a:ext cx="755335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Montserrat ExtraBold" panose="020B0604020202020204" charset="-52"/>
              </a:rPr>
              <a:t>861,4</a:t>
            </a:r>
            <a:endParaRPr lang="ru-RU" sz="1650" b="1" dirty="0">
              <a:solidFill>
                <a:schemeClr val="tx2">
                  <a:lumMod val="60000"/>
                  <a:lumOff val="40000"/>
                </a:schemeClr>
              </a:solidFill>
              <a:latin typeface="Montserrat ExtraBold" panose="020B0604020202020204" charset="-52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571142" y="4774169"/>
            <a:ext cx="787395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Montserrat ExtraBold" panose="020B0604020202020204" charset="-52"/>
              </a:rPr>
              <a:t>289,9</a:t>
            </a:r>
            <a:endParaRPr lang="ru-RU" sz="1650" b="1" dirty="0">
              <a:solidFill>
                <a:schemeClr val="tx2">
                  <a:lumMod val="60000"/>
                  <a:lumOff val="40000"/>
                </a:schemeClr>
              </a:solidFill>
              <a:latin typeface="Montserrat ExtraBold" panose="020B0604020202020204" charset="-52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6544200" y="5542216"/>
            <a:ext cx="893193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Montserrat ExtraBold" panose="020B0604020202020204" charset="-52"/>
              </a:rPr>
              <a:t>1540,0</a:t>
            </a:r>
            <a:endParaRPr lang="ru-RU" sz="1650" b="1" dirty="0">
              <a:solidFill>
                <a:schemeClr val="tx2">
                  <a:lumMod val="60000"/>
                  <a:lumOff val="40000"/>
                </a:schemeClr>
              </a:solidFill>
              <a:latin typeface="Montserrat ExtraBold" panose="020B0604020202020204" charset="-52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609416" y="6376711"/>
            <a:ext cx="607859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Montserrat ExtraBold" panose="020B0604020202020204" charset="-52"/>
              </a:rPr>
              <a:t>89,1</a:t>
            </a:r>
            <a:endParaRPr lang="ru-RU" sz="1650" b="1" dirty="0">
              <a:solidFill>
                <a:schemeClr val="tx2">
                  <a:lumMod val="60000"/>
                  <a:lumOff val="40000"/>
                </a:schemeClr>
              </a:solidFill>
              <a:latin typeface="Montserrat ExtraBold" panose="020B0604020202020204" charset="-52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6600774" y="7186844"/>
            <a:ext cx="776175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Montserrat ExtraBold" panose="020B0604020202020204" charset="-52"/>
              </a:rPr>
              <a:t>955,6</a:t>
            </a:r>
            <a:endParaRPr lang="ru-RU" sz="1650" b="1" dirty="0">
              <a:solidFill>
                <a:schemeClr val="tx2">
                  <a:lumMod val="60000"/>
                  <a:lumOff val="40000"/>
                </a:schemeClr>
              </a:solidFill>
              <a:latin typeface="Montserrat ExtraBold" panose="020B0604020202020204" charset="-52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632304" y="8045701"/>
            <a:ext cx="638316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Montserrat ExtraBold" panose="020B0604020202020204" charset="-52"/>
              </a:rPr>
              <a:t>55,9</a:t>
            </a:r>
            <a:endParaRPr lang="ru-RU" sz="1650" b="1" dirty="0">
              <a:solidFill>
                <a:schemeClr val="tx2">
                  <a:lumMod val="60000"/>
                  <a:lumOff val="40000"/>
                </a:schemeClr>
              </a:solidFill>
              <a:latin typeface="Montserrat ExtraBold" panose="020B0604020202020204" charset="-52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634239" y="8869945"/>
            <a:ext cx="508473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5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Montserrat ExtraBold" panose="020B0604020202020204" charset="-52"/>
              </a:rPr>
              <a:t>6,2</a:t>
            </a:r>
            <a:endParaRPr lang="ru-RU" sz="1650" b="1" dirty="0">
              <a:solidFill>
                <a:schemeClr val="tx2">
                  <a:lumMod val="60000"/>
                  <a:lumOff val="40000"/>
                </a:schemeClr>
              </a:solidFill>
              <a:latin typeface="Montserrat ExtraBold" panose="020B0604020202020204" charset="-52"/>
            </a:endParaRPr>
          </a:p>
        </p:txBody>
      </p:sp>
      <p:sp>
        <p:nvSpPr>
          <p:cNvPr id="67" name="Прямоугольник 66"/>
          <p:cNvSpPr/>
          <p:nvPr>
            <p:custDataLst>
              <p:tags r:id="rId1"/>
            </p:custDataLst>
          </p:nvPr>
        </p:nvSpPr>
        <p:spPr>
          <a:xfrm>
            <a:off x="10562343" y="3405810"/>
            <a:ext cx="857252" cy="37645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+</a:t>
            </a:r>
            <a:r>
              <a:rPr lang="ru-RU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2,0</a:t>
            </a:r>
            <a:r>
              <a:rPr lang="en-US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%</a:t>
            </a:r>
            <a:endParaRPr lang="ru-RU" sz="1200" b="1" dirty="0">
              <a:solidFill>
                <a:schemeClr val="tx1"/>
              </a:solidFill>
              <a:latin typeface="Montserrat ExtraBold" panose="020B0604020202020204" charset="-52"/>
            </a:endParaRPr>
          </a:p>
        </p:txBody>
      </p:sp>
      <p:sp>
        <p:nvSpPr>
          <p:cNvPr id="68" name="Прямоугольник 67"/>
          <p:cNvSpPr/>
          <p:nvPr>
            <p:custDataLst>
              <p:tags r:id="rId2"/>
            </p:custDataLst>
          </p:nvPr>
        </p:nvSpPr>
        <p:spPr>
          <a:xfrm>
            <a:off x="10562342" y="2456200"/>
            <a:ext cx="865985" cy="36177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-</a:t>
            </a:r>
            <a:r>
              <a:rPr lang="ru-RU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4,0</a:t>
            </a:r>
            <a:r>
              <a:rPr lang="en-US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%</a:t>
            </a:r>
            <a:endParaRPr lang="ru-RU" sz="1200" b="1" dirty="0">
              <a:solidFill>
                <a:schemeClr val="tx1"/>
              </a:solidFill>
              <a:latin typeface="Montserrat ExtraBold" panose="020B0604020202020204" charset="-52"/>
            </a:endParaRPr>
          </a:p>
        </p:txBody>
      </p:sp>
      <p:sp>
        <p:nvSpPr>
          <p:cNvPr id="69" name="Прямоугольник 68"/>
          <p:cNvSpPr/>
          <p:nvPr>
            <p:custDataLst>
              <p:tags r:id="rId3"/>
            </p:custDataLst>
          </p:nvPr>
        </p:nvSpPr>
        <p:spPr>
          <a:xfrm>
            <a:off x="10562342" y="4249546"/>
            <a:ext cx="857251" cy="373301"/>
          </a:xfrm>
          <a:prstGeom prst="rect">
            <a:avLst/>
          </a:prstGeom>
          <a:solidFill>
            <a:srgbClr val="D59492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-61,4</a:t>
            </a:r>
            <a:r>
              <a:rPr lang="en-US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%</a:t>
            </a:r>
            <a:endParaRPr lang="ru-RU" sz="1200" b="1" dirty="0">
              <a:solidFill>
                <a:schemeClr val="tx1"/>
              </a:solidFill>
              <a:latin typeface="Montserrat ExtraBold" panose="020B0604020202020204" charset="-52"/>
            </a:endParaRPr>
          </a:p>
        </p:txBody>
      </p:sp>
      <p:sp>
        <p:nvSpPr>
          <p:cNvPr id="70" name="Прямоугольник 69"/>
          <p:cNvSpPr/>
          <p:nvPr>
            <p:custDataLst>
              <p:tags r:id="rId4"/>
            </p:custDataLst>
          </p:nvPr>
        </p:nvSpPr>
        <p:spPr>
          <a:xfrm>
            <a:off x="10562342" y="5120418"/>
            <a:ext cx="857252" cy="35875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-</a:t>
            </a:r>
            <a:r>
              <a:rPr lang="ru-RU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1,7</a:t>
            </a:r>
            <a:r>
              <a:rPr lang="en-US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%</a:t>
            </a:r>
            <a:endParaRPr lang="ru-RU" sz="1200" b="1" dirty="0">
              <a:solidFill>
                <a:schemeClr val="tx1"/>
              </a:solidFill>
              <a:latin typeface="Montserrat ExtraBold" panose="020B0604020202020204" charset="-52"/>
            </a:endParaRPr>
          </a:p>
        </p:txBody>
      </p:sp>
      <p:sp>
        <p:nvSpPr>
          <p:cNvPr id="71" name="Прямоугольник 70"/>
          <p:cNvSpPr/>
          <p:nvPr>
            <p:custDataLst>
              <p:tags r:id="rId5"/>
            </p:custDataLst>
          </p:nvPr>
        </p:nvSpPr>
        <p:spPr>
          <a:xfrm>
            <a:off x="10562342" y="5928612"/>
            <a:ext cx="847469" cy="37539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+</a:t>
            </a:r>
            <a:r>
              <a:rPr lang="ru-RU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0,3</a:t>
            </a:r>
            <a:r>
              <a:rPr lang="en-US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%</a:t>
            </a:r>
            <a:endParaRPr lang="ru-RU" sz="1200" b="1" dirty="0">
              <a:solidFill>
                <a:schemeClr val="tx1"/>
              </a:solidFill>
              <a:latin typeface="Montserrat ExtraBold" panose="020B0604020202020204" charset="-52"/>
            </a:endParaRPr>
          </a:p>
        </p:txBody>
      </p:sp>
      <p:sp>
        <p:nvSpPr>
          <p:cNvPr id="72" name="Прямоугольник 71"/>
          <p:cNvSpPr/>
          <p:nvPr>
            <p:custDataLst>
              <p:tags r:id="rId6"/>
            </p:custDataLst>
          </p:nvPr>
        </p:nvSpPr>
        <p:spPr>
          <a:xfrm>
            <a:off x="10562342" y="6806180"/>
            <a:ext cx="854946" cy="35875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-</a:t>
            </a:r>
            <a:r>
              <a:rPr lang="ru-RU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27,0</a:t>
            </a:r>
            <a:r>
              <a:rPr lang="en-US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%</a:t>
            </a:r>
            <a:endParaRPr lang="ru-RU" sz="1200" b="1" dirty="0">
              <a:solidFill>
                <a:schemeClr val="tx1"/>
              </a:solidFill>
              <a:latin typeface="Montserrat ExtraBold" panose="020B0604020202020204" charset="-52"/>
            </a:endParaRPr>
          </a:p>
        </p:txBody>
      </p:sp>
      <p:sp>
        <p:nvSpPr>
          <p:cNvPr id="75" name="Прямоугольник 74"/>
          <p:cNvSpPr/>
          <p:nvPr>
            <p:custDataLst>
              <p:tags r:id="rId7"/>
            </p:custDataLst>
          </p:nvPr>
        </p:nvSpPr>
        <p:spPr>
          <a:xfrm>
            <a:off x="10613605" y="9245126"/>
            <a:ext cx="837539" cy="33928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+</a:t>
            </a:r>
            <a:r>
              <a:rPr lang="ru-RU" sz="8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в 3,6 раза</a:t>
            </a:r>
            <a:endParaRPr lang="ru-RU" sz="800" b="1" dirty="0">
              <a:solidFill>
                <a:schemeClr val="tx1"/>
              </a:solidFill>
              <a:latin typeface="Montserrat ExtraBold" panose="020B0604020202020204" charset="-52"/>
            </a:endParaRPr>
          </a:p>
        </p:txBody>
      </p:sp>
      <p:sp>
        <p:nvSpPr>
          <p:cNvPr id="76" name="Прямоугольник 75"/>
          <p:cNvSpPr/>
          <p:nvPr>
            <p:custDataLst>
              <p:tags r:id="rId8"/>
            </p:custDataLst>
          </p:nvPr>
        </p:nvSpPr>
        <p:spPr>
          <a:xfrm>
            <a:off x="10572272" y="7556022"/>
            <a:ext cx="844663" cy="37539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+</a:t>
            </a:r>
            <a:r>
              <a:rPr lang="ru-RU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9,6</a:t>
            </a:r>
            <a:r>
              <a:rPr lang="en-US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%</a:t>
            </a:r>
            <a:endParaRPr lang="ru-RU" sz="1200" b="1" dirty="0">
              <a:solidFill>
                <a:schemeClr val="tx1"/>
              </a:solidFill>
              <a:latin typeface="Montserrat ExtraBold" panose="020B0604020202020204" charset="-52"/>
            </a:endParaRPr>
          </a:p>
        </p:txBody>
      </p:sp>
      <p:sp>
        <p:nvSpPr>
          <p:cNvPr id="77" name="Прямоугольник 76"/>
          <p:cNvSpPr/>
          <p:nvPr>
            <p:custDataLst>
              <p:tags r:id="rId9"/>
            </p:custDataLst>
          </p:nvPr>
        </p:nvSpPr>
        <p:spPr>
          <a:xfrm>
            <a:off x="10579396" y="8381699"/>
            <a:ext cx="848931" cy="37539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+</a:t>
            </a:r>
            <a:r>
              <a:rPr lang="ru-RU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5,0</a:t>
            </a:r>
            <a:r>
              <a:rPr lang="en-US" sz="1200" b="1" dirty="0" smtClean="0">
                <a:solidFill>
                  <a:schemeClr val="tx1"/>
                </a:solidFill>
                <a:latin typeface="Montserrat ExtraBold" panose="020B0604020202020204" charset="-52"/>
              </a:rPr>
              <a:t>%</a:t>
            </a:r>
            <a:endParaRPr lang="ru-RU" sz="1200" b="1" dirty="0">
              <a:solidFill>
                <a:schemeClr val="tx1"/>
              </a:solidFill>
              <a:latin typeface="Montserrat ExtraBold" panose="020B0604020202020204" charset="-5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782096" y="194163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343213" y="89819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371101" y="-150939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sp>
        <p:nvSpPr>
          <p:cNvPr id="24" name="AutoShape 24"/>
          <p:cNvSpPr/>
          <p:nvPr/>
        </p:nvSpPr>
        <p:spPr>
          <a:xfrm>
            <a:off x="371074" y="1970487"/>
            <a:ext cx="10507450" cy="0"/>
          </a:xfrm>
          <a:prstGeom prst="line">
            <a:avLst/>
          </a:prstGeom>
          <a:ln w="47625" cap="rnd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25" name="AutoShape 25"/>
          <p:cNvSpPr/>
          <p:nvPr/>
        </p:nvSpPr>
        <p:spPr>
          <a:xfrm>
            <a:off x="371074" y="4773361"/>
            <a:ext cx="10507450" cy="0"/>
          </a:xfrm>
          <a:prstGeom prst="line">
            <a:avLst/>
          </a:prstGeom>
          <a:ln w="47625" cap="rnd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26" name="AutoShape 26"/>
          <p:cNvSpPr/>
          <p:nvPr/>
        </p:nvSpPr>
        <p:spPr>
          <a:xfrm>
            <a:off x="371074" y="7418880"/>
            <a:ext cx="10507450" cy="0"/>
          </a:xfrm>
          <a:prstGeom prst="line">
            <a:avLst/>
          </a:prstGeom>
          <a:ln w="47625" cap="rnd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27" name="AutoShape 27"/>
          <p:cNvSpPr/>
          <p:nvPr/>
        </p:nvSpPr>
        <p:spPr>
          <a:xfrm rot="-5400000">
            <a:off x="4169678" y="5626903"/>
            <a:ext cx="7360457" cy="0"/>
          </a:xfrm>
          <a:prstGeom prst="line">
            <a:avLst/>
          </a:prstGeom>
          <a:ln w="47625" cap="rnd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28" name="TextBox 28"/>
          <p:cNvSpPr txBox="1"/>
          <p:nvPr/>
        </p:nvSpPr>
        <p:spPr>
          <a:xfrm>
            <a:off x="5942806" y="61269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29" name="TextBox 29"/>
          <p:cNvSpPr txBox="1"/>
          <p:nvPr/>
        </p:nvSpPr>
        <p:spPr>
          <a:xfrm>
            <a:off x="4590796" y="613877"/>
            <a:ext cx="9106408" cy="110591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</a:pPr>
            <a:r>
              <a:rPr lang="en-US" sz="3147" dirty="0">
                <a:solidFill>
                  <a:srgbClr val="2C92D5"/>
                </a:solidFill>
                <a:latin typeface="Montserrat Extra-Bold"/>
              </a:rPr>
              <a:t>НАЦИОНАЛЬНЫЕ ПРОЕКТЫ В 2022 ГОДУ</a:t>
            </a:r>
          </a:p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2C92D5"/>
                </a:solidFill>
                <a:latin typeface="Montserrat Extra-Bold"/>
              </a:rPr>
              <a:t>НА СУММУ 556,2 МЛН.РУБ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1426678" y="2297672"/>
            <a:ext cx="5278913" cy="5045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197"/>
              </a:lnSpc>
              <a:spcBef>
                <a:spcPct val="0"/>
              </a:spcBef>
            </a:pPr>
            <a:r>
              <a:rPr lang="en-US" sz="2998" dirty="0">
                <a:solidFill>
                  <a:srgbClr val="13538A"/>
                </a:solidFill>
                <a:latin typeface="Montserrat Extra-Bold"/>
              </a:rPr>
              <a:t>ПРОЕКТ "ДЕМОГРАФИЯ"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8400342" y="3289892"/>
            <a:ext cx="2191457" cy="554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 dirty="0">
                <a:solidFill>
                  <a:srgbClr val="13538A"/>
                </a:solidFill>
                <a:latin typeface="Montserrat Extra-Bold"/>
              </a:rPr>
              <a:t>МЛН.РУБ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8400342" y="2221472"/>
            <a:ext cx="2106123" cy="10753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741"/>
              </a:lnSpc>
              <a:spcBef>
                <a:spcPct val="0"/>
              </a:spcBef>
            </a:pPr>
            <a:r>
              <a:rPr lang="en-US" sz="6244">
                <a:solidFill>
                  <a:srgbClr val="13538A"/>
                </a:solidFill>
                <a:latin typeface="Montserrat Extra-Bold"/>
              </a:rPr>
              <a:t>128,4</a:t>
            </a:r>
          </a:p>
        </p:txBody>
      </p:sp>
      <p:sp>
        <p:nvSpPr>
          <p:cNvPr id="33" name="TextBox 33"/>
          <p:cNvSpPr txBox="1"/>
          <p:nvPr/>
        </p:nvSpPr>
        <p:spPr>
          <a:xfrm>
            <a:off x="440497" y="2947399"/>
            <a:ext cx="7090485" cy="146302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10"/>
              </a:lnSpc>
            </a:pPr>
            <a:r>
              <a:rPr lang="en-US" sz="1650" dirty="0">
                <a:solidFill>
                  <a:srgbClr val="2C92D5"/>
                </a:solidFill>
                <a:latin typeface="Montserrat Extra-Bold"/>
              </a:rPr>
              <a:t>ЕЖЕМЕСЯЧНЫЕ ДЕНЕЖНЫЕ ВЫПЛАТЫ</a:t>
            </a:r>
          </a:p>
          <a:p>
            <a:pPr algn="ctr">
              <a:lnSpc>
                <a:spcPts val="2310"/>
              </a:lnSpc>
              <a:spcBef>
                <a:spcPct val="0"/>
              </a:spcBef>
            </a:pPr>
            <a:r>
              <a:rPr lang="en-US" sz="1650" dirty="0">
                <a:solidFill>
                  <a:srgbClr val="2C92D5"/>
                </a:solidFill>
                <a:latin typeface="Montserrat Extra-Bold"/>
              </a:rPr>
              <a:t>В СВЯЗИ С РОЖДЕНИЕМ (УСЫНОВЛЕНИЕМ) ПЕРВОГО РЕБЕНКА, В СЛУЧАЕ РОЖДЕНИЯ ТРЕТЬЕГО РЕБЕНКА ИЛИ ПОСЛЕДУЮЩИХ ДЕТЕЙ ДО ДОСТИЖЕНИЯ РЕБЕНКОМ ВОЗРАСТА 3-Х ЛЕТ</a:t>
            </a:r>
          </a:p>
        </p:txBody>
      </p:sp>
      <p:pic>
        <p:nvPicPr>
          <p:cNvPr id="34" name="Picture 3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1718329" y="1357294"/>
            <a:ext cx="3832653" cy="383265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782096" y="194163"/>
            <a:ext cx="2144842" cy="1135873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343213" y="89819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371101" y="-150939"/>
            <a:ext cx="504017" cy="557766"/>
            <a:chOff x="0" y="0"/>
            <a:chExt cx="672023" cy="743688"/>
          </a:xfrm>
        </p:grpSpPr>
        <p:grpSp>
          <p:nvGrpSpPr>
            <p:cNvPr id="6" name="Group 6"/>
            <p:cNvGrpSpPr/>
            <p:nvPr/>
          </p:nvGrpSpPr>
          <p:grpSpPr>
            <a:xfrm>
              <a:off x="257789" y="0"/>
              <a:ext cx="149795" cy="149795"/>
              <a:chOff x="0" y="0"/>
              <a:chExt cx="6350000" cy="6350000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8" name="Group 8"/>
            <p:cNvGrpSpPr/>
            <p:nvPr/>
          </p:nvGrpSpPr>
          <p:grpSpPr>
            <a:xfrm>
              <a:off x="257789" y="303607"/>
              <a:ext cx="149795" cy="149795"/>
              <a:chOff x="0" y="0"/>
              <a:chExt cx="6350000" cy="6350000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0" name="Group 10"/>
            <p:cNvGrpSpPr/>
            <p:nvPr/>
          </p:nvGrpSpPr>
          <p:grpSpPr>
            <a:xfrm>
              <a:off x="257789" y="593892"/>
              <a:ext cx="149795" cy="149795"/>
              <a:chOff x="0" y="0"/>
              <a:chExt cx="6350000" cy="6350000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2" name="Group 12"/>
            <p:cNvGrpSpPr/>
            <p:nvPr/>
          </p:nvGrpSpPr>
          <p:grpSpPr>
            <a:xfrm>
              <a:off x="522227" y="0"/>
              <a:ext cx="149795" cy="149795"/>
              <a:chOff x="0" y="0"/>
              <a:chExt cx="6350000" cy="6350000"/>
            </a:xfrm>
          </p:grpSpPr>
          <p:sp>
            <p:nvSpPr>
              <p:cNvPr id="13" name="Freeform 1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4" name="Group 14"/>
            <p:cNvGrpSpPr/>
            <p:nvPr/>
          </p:nvGrpSpPr>
          <p:grpSpPr>
            <a:xfrm>
              <a:off x="522227" y="303607"/>
              <a:ext cx="149795" cy="149795"/>
              <a:chOff x="0" y="0"/>
              <a:chExt cx="6350000" cy="6350000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6" name="Group 16"/>
            <p:cNvGrpSpPr/>
            <p:nvPr/>
          </p:nvGrpSpPr>
          <p:grpSpPr>
            <a:xfrm>
              <a:off x="522227" y="593892"/>
              <a:ext cx="149795" cy="149795"/>
              <a:chOff x="0" y="0"/>
              <a:chExt cx="6350000" cy="6350000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18" name="Group 18"/>
            <p:cNvGrpSpPr/>
            <p:nvPr/>
          </p:nvGrpSpPr>
          <p:grpSpPr>
            <a:xfrm>
              <a:off x="0" y="0"/>
              <a:ext cx="149795" cy="149795"/>
              <a:chOff x="0" y="0"/>
              <a:chExt cx="6350000" cy="6350000"/>
            </a:xfrm>
          </p:grpSpPr>
          <p:sp>
            <p:nvSpPr>
              <p:cNvPr id="19" name="Freeform 19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0" name="Group 20"/>
            <p:cNvGrpSpPr/>
            <p:nvPr/>
          </p:nvGrpSpPr>
          <p:grpSpPr>
            <a:xfrm>
              <a:off x="0" y="303607"/>
              <a:ext cx="149795" cy="149795"/>
              <a:chOff x="0" y="0"/>
              <a:chExt cx="6350000" cy="6350000"/>
            </a:xfrm>
          </p:grpSpPr>
          <p:sp>
            <p:nvSpPr>
              <p:cNvPr id="21" name="Freeform 21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  <p:grpSp>
          <p:nvGrpSpPr>
            <p:cNvPr id="22" name="Group 22"/>
            <p:cNvGrpSpPr/>
            <p:nvPr/>
          </p:nvGrpSpPr>
          <p:grpSpPr>
            <a:xfrm>
              <a:off x="0" y="593892"/>
              <a:ext cx="149795" cy="149795"/>
              <a:chOff x="0" y="0"/>
              <a:chExt cx="6350000" cy="6350000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3EDAD8"/>
              </a:solidFill>
            </p:spPr>
          </p:sp>
        </p:grpSp>
      </p:grpSp>
      <p:sp>
        <p:nvSpPr>
          <p:cNvPr id="24" name="AutoShape 24"/>
          <p:cNvSpPr/>
          <p:nvPr/>
        </p:nvSpPr>
        <p:spPr>
          <a:xfrm>
            <a:off x="371074" y="1970487"/>
            <a:ext cx="10507450" cy="0"/>
          </a:xfrm>
          <a:prstGeom prst="line">
            <a:avLst/>
          </a:prstGeom>
          <a:ln w="47625" cap="rnd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25" name="AutoShape 25"/>
          <p:cNvSpPr/>
          <p:nvPr/>
        </p:nvSpPr>
        <p:spPr>
          <a:xfrm>
            <a:off x="371074" y="4773361"/>
            <a:ext cx="10507450" cy="0"/>
          </a:xfrm>
          <a:prstGeom prst="line">
            <a:avLst/>
          </a:prstGeom>
          <a:ln w="47625" cap="rnd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26" name="AutoShape 26"/>
          <p:cNvSpPr/>
          <p:nvPr/>
        </p:nvSpPr>
        <p:spPr>
          <a:xfrm>
            <a:off x="371074" y="7418880"/>
            <a:ext cx="10507450" cy="0"/>
          </a:xfrm>
          <a:prstGeom prst="line">
            <a:avLst/>
          </a:prstGeom>
          <a:ln w="47625" cap="rnd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27" name="AutoShape 27"/>
          <p:cNvSpPr/>
          <p:nvPr/>
        </p:nvSpPr>
        <p:spPr>
          <a:xfrm rot="-5400000">
            <a:off x="4169678" y="5626903"/>
            <a:ext cx="7360457" cy="0"/>
          </a:xfrm>
          <a:prstGeom prst="line">
            <a:avLst/>
          </a:prstGeom>
          <a:ln w="47625" cap="rnd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</p:sp>
      <p:pic>
        <p:nvPicPr>
          <p:cNvPr id="28" name="Picture 2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3829573" y="3687800"/>
            <a:ext cx="3865708" cy="3860876"/>
          </a:xfrm>
          <a:prstGeom prst="rect">
            <a:avLst/>
          </a:prstGeom>
        </p:spPr>
      </p:pic>
      <p:pic>
        <p:nvPicPr>
          <p:cNvPr id="29" name="Picture 29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1718329" y="1357294"/>
            <a:ext cx="3832653" cy="3832653"/>
          </a:xfrm>
          <a:prstGeom prst="rect">
            <a:avLst/>
          </a:prstGeom>
        </p:spPr>
      </p:pic>
      <p:sp>
        <p:nvSpPr>
          <p:cNvPr id="30" name="TextBox 30"/>
          <p:cNvSpPr txBox="1"/>
          <p:nvPr/>
        </p:nvSpPr>
        <p:spPr>
          <a:xfrm>
            <a:off x="5942806" y="61269"/>
            <a:ext cx="6402388" cy="546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>
                <a:solidFill>
                  <a:srgbClr val="13538A"/>
                </a:solidFill>
                <a:latin typeface="Montserrat Extra-Bold"/>
              </a:rPr>
              <a:t>НЕВИННОМЫССК В ЦИФРАХ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440497" y="5036867"/>
            <a:ext cx="7255693" cy="103767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197"/>
              </a:lnSpc>
            </a:pPr>
            <a:r>
              <a:rPr lang="en-US" sz="2998" dirty="0">
                <a:solidFill>
                  <a:srgbClr val="13538A"/>
                </a:solidFill>
                <a:latin typeface="Montserrat Extra-Bold"/>
              </a:rPr>
              <a:t>"БЕЗОПАСНЫЕ И КАЧЕСТВЕННЫЕ</a:t>
            </a:r>
          </a:p>
          <a:p>
            <a:pPr algn="ctr">
              <a:lnSpc>
                <a:spcPts val="4197"/>
              </a:lnSpc>
              <a:spcBef>
                <a:spcPct val="0"/>
              </a:spcBef>
            </a:pPr>
            <a:r>
              <a:rPr lang="en-US" sz="2998" dirty="0">
                <a:solidFill>
                  <a:srgbClr val="13538A"/>
                </a:solidFill>
                <a:latin typeface="Montserrat Extra-Bold"/>
              </a:rPr>
              <a:t>АВТОМОБИЛЬНЫЕ ДОРОГИ"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1426678" y="2297672"/>
            <a:ext cx="5278919" cy="5045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197"/>
              </a:lnSpc>
              <a:spcBef>
                <a:spcPct val="0"/>
              </a:spcBef>
            </a:pPr>
            <a:r>
              <a:rPr lang="en-US" sz="2998" dirty="0">
                <a:solidFill>
                  <a:srgbClr val="13538A"/>
                </a:solidFill>
                <a:latin typeface="Montserrat Extra-Bold"/>
              </a:rPr>
              <a:t>ПРОЕКТ "ДЕМОГРАФИЯ"</a:t>
            </a:r>
          </a:p>
        </p:txBody>
      </p:sp>
      <p:sp>
        <p:nvSpPr>
          <p:cNvPr id="33" name="TextBox 33"/>
          <p:cNvSpPr txBox="1"/>
          <p:nvPr/>
        </p:nvSpPr>
        <p:spPr>
          <a:xfrm>
            <a:off x="8400342" y="6240285"/>
            <a:ext cx="2168010" cy="554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 dirty="0">
                <a:solidFill>
                  <a:srgbClr val="13538A"/>
                </a:solidFill>
                <a:latin typeface="Montserrat Extra-Bold"/>
              </a:rPr>
              <a:t>МЛН.РУБ</a:t>
            </a:r>
          </a:p>
        </p:txBody>
      </p:sp>
      <p:sp>
        <p:nvSpPr>
          <p:cNvPr id="34" name="TextBox 34"/>
          <p:cNvSpPr txBox="1"/>
          <p:nvPr/>
        </p:nvSpPr>
        <p:spPr>
          <a:xfrm>
            <a:off x="8400342" y="3289892"/>
            <a:ext cx="2168013" cy="554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 dirty="0">
                <a:solidFill>
                  <a:srgbClr val="13538A"/>
                </a:solidFill>
                <a:latin typeface="Montserrat Extra-Bold"/>
              </a:rPr>
              <a:t>МЛН.РУБ</a:t>
            </a:r>
          </a:p>
        </p:txBody>
      </p:sp>
      <p:sp>
        <p:nvSpPr>
          <p:cNvPr id="35" name="TextBox 35"/>
          <p:cNvSpPr txBox="1"/>
          <p:nvPr/>
        </p:nvSpPr>
        <p:spPr>
          <a:xfrm>
            <a:off x="8338449" y="5171866"/>
            <a:ext cx="2229910" cy="10753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741"/>
              </a:lnSpc>
              <a:spcBef>
                <a:spcPct val="0"/>
              </a:spcBef>
            </a:pPr>
            <a:r>
              <a:rPr lang="en-US" sz="6244">
                <a:solidFill>
                  <a:srgbClr val="13538A"/>
                </a:solidFill>
                <a:latin typeface="Montserrat Extra-Bold"/>
              </a:rPr>
              <a:t>279,6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8400342" y="2221472"/>
            <a:ext cx="2106123" cy="10753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741"/>
              </a:lnSpc>
              <a:spcBef>
                <a:spcPct val="0"/>
              </a:spcBef>
            </a:pPr>
            <a:r>
              <a:rPr lang="en-US" sz="6244">
                <a:solidFill>
                  <a:srgbClr val="13538A"/>
                </a:solidFill>
                <a:latin typeface="Montserrat Extra-Bold"/>
              </a:rPr>
              <a:t>128,4</a:t>
            </a:r>
          </a:p>
        </p:txBody>
      </p:sp>
      <p:sp>
        <p:nvSpPr>
          <p:cNvPr id="37" name="TextBox 37"/>
          <p:cNvSpPr txBox="1"/>
          <p:nvPr/>
        </p:nvSpPr>
        <p:spPr>
          <a:xfrm>
            <a:off x="440497" y="2947399"/>
            <a:ext cx="7090485" cy="146302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10"/>
              </a:lnSpc>
            </a:pPr>
            <a:r>
              <a:rPr lang="en-US" sz="1650">
                <a:solidFill>
                  <a:srgbClr val="2C92D5"/>
                </a:solidFill>
                <a:latin typeface="Montserrat Extra-Bold"/>
              </a:rPr>
              <a:t>ЕЖЕМЕСЯЧНЫЕ ДЕНЕЖНЫЕ ВЫПЛАТЫ</a:t>
            </a:r>
          </a:p>
          <a:p>
            <a:pPr algn="ctr">
              <a:lnSpc>
                <a:spcPts val="2310"/>
              </a:lnSpc>
              <a:spcBef>
                <a:spcPct val="0"/>
              </a:spcBef>
            </a:pPr>
            <a:r>
              <a:rPr lang="en-US" sz="1650">
                <a:solidFill>
                  <a:srgbClr val="2C92D5"/>
                </a:solidFill>
                <a:latin typeface="Montserrat Extra-Bold"/>
              </a:rPr>
              <a:t>В СВЯЗИ С РОЖДЕНИЕМ (УСЫНОВЛЕНИЕМ) ПЕРВОГО РЕБЕНКА, В СЛУЧАЕ РОЖДЕНИЯ ТРЕТЬЕГО РЕБЕНКА ИЛИ ПОСЛЕДУЮЩИХ ДЕТЕЙ ДО ДОСТИЖЕНИЯ РЕБЕНКОМ ВОЗРАСТА 3-Х ЛЕТ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528455" y="6199608"/>
            <a:ext cx="7002526" cy="103450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20"/>
              </a:lnSpc>
              <a:spcBef>
                <a:spcPct val="0"/>
              </a:spcBef>
            </a:pPr>
            <a:r>
              <a:rPr lang="en-US" sz="1943">
                <a:solidFill>
                  <a:srgbClr val="2C92D5"/>
                </a:solidFill>
                <a:latin typeface="Montserrat Extra-Bold"/>
              </a:rPr>
              <a:t>ул. Трудовая, ул. Первомайская, ул. Московская, ул. Монтажная, ул. Луначарского, ул. Комарова, ул. Достоевского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4590796" y="613877"/>
            <a:ext cx="9106408" cy="110591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</a:pPr>
            <a:r>
              <a:rPr lang="en-US" sz="3147" dirty="0">
                <a:solidFill>
                  <a:srgbClr val="2C92D5"/>
                </a:solidFill>
                <a:latin typeface="Montserrat Extra-Bold"/>
              </a:rPr>
              <a:t>НАЦИОНАЛЬНЫЕ ПРОЕКТЫ В 2022 ГОДУ</a:t>
            </a:r>
          </a:p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dirty="0">
                <a:solidFill>
                  <a:srgbClr val="2C92D5"/>
                </a:solidFill>
                <a:latin typeface="Montserrat Extra-Bold"/>
              </a:rPr>
              <a:t>НА СУММУ 556,2 МЛН.РУБ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bNE30A4UibIj.GTD_N8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bNE30A4UibIj.GTD_N8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bNE30A4UibIj.GTD_N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bNE30A4UibIj.GTD_N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bNE30A4UibIj.GTD_N8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bNE30A4UibIj.GTD_N8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bNE30A4UibIj.GTD_N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4</TotalTime>
  <Words>1131</Words>
  <Application>Microsoft Office PowerPoint</Application>
  <PresentationFormat>Произвольный</PresentationFormat>
  <Paragraphs>486</Paragraphs>
  <Slides>28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35" baseType="lpstr">
      <vt:lpstr>Montserrat ExtraBold</vt:lpstr>
      <vt:lpstr>Montserrat Semi-Bold Bold</vt:lpstr>
      <vt:lpstr>Arial</vt:lpstr>
      <vt:lpstr>Montserrat Extra-Bold</vt:lpstr>
      <vt:lpstr>Montserrat Black</vt:lpstr>
      <vt:lpstr>Calibri</vt:lpstr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дминистрация города Невинномысска Финансовое управление администрации города Невинномысска</dc:title>
  <dc:creator>Admin</dc:creator>
  <cp:lastModifiedBy>Пользователь Windows</cp:lastModifiedBy>
  <cp:revision>58</cp:revision>
  <dcterms:created xsi:type="dcterms:W3CDTF">2006-08-16T00:00:00Z</dcterms:created>
  <dcterms:modified xsi:type="dcterms:W3CDTF">2022-01-12T08:13:39Z</dcterms:modified>
  <dc:identifier>DAExvhIzHt8</dc:identifier>
</cp:coreProperties>
</file>